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98" r:id="rId2"/>
    <p:sldId id="302" r:id="rId3"/>
    <p:sldId id="315" r:id="rId4"/>
    <p:sldId id="314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A4DE"/>
    <a:srgbClr val="023872"/>
    <a:srgbClr val="3B5673"/>
    <a:srgbClr val="002D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EB6F8F-74EB-4132-8EAC-650D7CEE0930}" v="44" dt="2023-09-03T21:40:08.9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83921" autoAdjust="0"/>
  </p:normalViewPr>
  <p:slideViewPr>
    <p:cSldViewPr snapToGrid="0">
      <p:cViewPr varScale="1">
        <p:scale>
          <a:sx n="84" d="100"/>
          <a:sy n="84" d="100"/>
        </p:scale>
        <p:origin x="5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6/11/relationships/changesInfo" Target="changesInfos/changesInfo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wart, Gavin" userId="0cffdf04-cba2-46b3-b01a-6b6c4b9c13b0" providerId="ADAL" clId="{57B684CD-A78F-AC41-8A6B-2DE4F088CC76}"/>
    <pc:docChg chg="undo custSel addSld modSld">
      <pc:chgData name="Stewart, Gavin" userId="0cffdf04-cba2-46b3-b01a-6b6c4b9c13b0" providerId="ADAL" clId="{57B684CD-A78F-AC41-8A6B-2DE4F088CC76}" dt="2023-09-04T13:32:29.749" v="35" actId="1076"/>
      <pc:docMkLst>
        <pc:docMk/>
      </pc:docMkLst>
      <pc:sldChg chg="addSp delSp modSp addAnim delAnim">
        <pc:chgData name="Stewart, Gavin" userId="0cffdf04-cba2-46b3-b01a-6b6c4b9c13b0" providerId="ADAL" clId="{57B684CD-A78F-AC41-8A6B-2DE4F088CC76}" dt="2023-09-04T13:32:05.619" v="32" actId="21"/>
        <pc:sldMkLst>
          <pc:docMk/>
          <pc:sldMk cId="857514324" sldId="302"/>
        </pc:sldMkLst>
        <pc:spChg chg="add del">
          <ac:chgData name="Stewart, Gavin" userId="0cffdf04-cba2-46b3-b01a-6b6c4b9c13b0" providerId="ADAL" clId="{57B684CD-A78F-AC41-8A6B-2DE4F088CC76}" dt="2023-09-04T13:31:14.689" v="26" actId="21"/>
          <ac:spMkLst>
            <pc:docMk/>
            <pc:sldMk cId="857514324" sldId="302"/>
            <ac:spMk id="23" creationId="{9A3B403B-2BE5-70BC-DC06-556CB1DE6FFA}"/>
          </ac:spMkLst>
        </pc:spChg>
        <pc:spChg chg="add del">
          <ac:chgData name="Stewart, Gavin" userId="0cffdf04-cba2-46b3-b01a-6b6c4b9c13b0" providerId="ADAL" clId="{57B684CD-A78F-AC41-8A6B-2DE4F088CC76}" dt="2023-09-04T13:31:14.689" v="26" actId="21"/>
          <ac:spMkLst>
            <pc:docMk/>
            <pc:sldMk cId="857514324" sldId="302"/>
            <ac:spMk id="24" creationId="{1812B171-5521-1D70-52F3-07A4FDB67EAC}"/>
          </ac:spMkLst>
        </pc:spChg>
        <pc:spChg chg="add del">
          <ac:chgData name="Stewart, Gavin" userId="0cffdf04-cba2-46b3-b01a-6b6c4b9c13b0" providerId="ADAL" clId="{57B684CD-A78F-AC41-8A6B-2DE4F088CC76}" dt="2023-09-04T13:31:35.986" v="29" actId="21"/>
          <ac:spMkLst>
            <pc:docMk/>
            <pc:sldMk cId="857514324" sldId="302"/>
            <ac:spMk id="25" creationId="{630C2F90-191F-A2EB-3160-F7E98B4A9895}"/>
          </ac:spMkLst>
        </pc:spChg>
        <pc:spChg chg="add del">
          <ac:chgData name="Stewart, Gavin" userId="0cffdf04-cba2-46b3-b01a-6b6c4b9c13b0" providerId="ADAL" clId="{57B684CD-A78F-AC41-8A6B-2DE4F088CC76}" dt="2023-09-04T13:31:35.986" v="29" actId="21"/>
          <ac:spMkLst>
            <pc:docMk/>
            <pc:sldMk cId="857514324" sldId="302"/>
            <ac:spMk id="26" creationId="{19C1C38E-55AE-A7BD-146B-C89FF58CB3A2}"/>
          </ac:spMkLst>
        </pc:spChg>
        <pc:spChg chg="add del">
          <ac:chgData name="Stewart, Gavin" userId="0cffdf04-cba2-46b3-b01a-6b6c4b9c13b0" providerId="ADAL" clId="{57B684CD-A78F-AC41-8A6B-2DE4F088CC76}" dt="2023-09-04T13:32:05.619" v="32" actId="21"/>
          <ac:spMkLst>
            <pc:docMk/>
            <pc:sldMk cId="857514324" sldId="302"/>
            <ac:spMk id="27" creationId="{CD87F387-3F8F-5D22-6486-A05C15A9221B}"/>
          </ac:spMkLst>
        </pc:spChg>
        <pc:spChg chg="add del">
          <ac:chgData name="Stewart, Gavin" userId="0cffdf04-cba2-46b3-b01a-6b6c4b9c13b0" providerId="ADAL" clId="{57B684CD-A78F-AC41-8A6B-2DE4F088CC76}" dt="2023-09-04T13:32:05.619" v="32" actId="21"/>
          <ac:spMkLst>
            <pc:docMk/>
            <pc:sldMk cId="857514324" sldId="302"/>
            <ac:spMk id="28" creationId="{3593D900-D14E-1652-4825-3C7897A7DE6C}"/>
          </ac:spMkLst>
        </pc:spChg>
        <pc:graphicFrameChg chg="add del mod">
          <ac:chgData name="Stewart, Gavin" userId="0cffdf04-cba2-46b3-b01a-6b6c4b9c13b0" providerId="ADAL" clId="{57B684CD-A78F-AC41-8A6B-2DE4F088CC76}" dt="2023-09-04T13:30:44.500" v="21" actId="1076"/>
          <ac:graphicFrameMkLst>
            <pc:docMk/>
            <pc:sldMk cId="857514324" sldId="302"/>
            <ac:graphicFrameMk id="2" creationId="{8BC921A5-6049-9E72-8EDA-5DA987D6266A}"/>
          </ac:graphicFrameMkLst>
        </pc:graphicFrameChg>
      </pc:sldChg>
      <pc:sldChg chg="addSp delSp modSp new addAnim delAnim">
        <pc:chgData name="Stewart, Gavin" userId="0cffdf04-cba2-46b3-b01a-6b6c4b9c13b0" providerId="ADAL" clId="{57B684CD-A78F-AC41-8A6B-2DE4F088CC76}" dt="2023-09-04T13:32:29.749" v="35" actId="1076"/>
        <pc:sldMkLst>
          <pc:docMk/>
          <pc:sldMk cId="3370211378" sldId="315"/>
        </pc:sldMkLst>
        <pc:spChg chg="del">
          <ac:chgData name="Stewart, Gavin" userId="0cffdf04-cba2-46b3-b01a-6b6c4b9c13b0" providerId="ADAL" clId="{57B684CD-A78F-AC41-8A6B-2DE4F088CC76}" dt="2023-09-04T13:26:24.170" v="2" actId="21"/>
          <ac:spMkLst>
            <pc:docMk/>
            <pc:sldMk cId="3370211378" sldId="315"/>
            <ac:spMk id="2" creationId="{E7E1C880-38D4-F429-C0A2-3174844BAE6E}"/>
          </ac:spMkLst>
        </pc:spChg>
        <pc:spChg chg="del">
          <ac:chgData name="Stewart, Gavin" userId="0cffdf04-cba2-46b3-b01a-6b6c4b9c13b0" providerId="ADAL" clId="{57B684CD-A78F-AC41-8A6B-2DE4F088CC76}" dt="2023-09-04T13:26:20.189" v="1" actId="21"/>
          <ac:spMkLst>
            <pc:docMk/>
            <pc:sldMk cId="3370211378" sldId="315"/>
            <ac:spMk id="3" creationId="{596C8718-2B35-5783-F276-E9E3A55D3142}"/>
          </ac:spMkLst>
        </pc:spChg>
        <pc:spChg chg="add">
          <ac:chgData name="Stewart, Gavin" userId="0cffdf04-cba2-46b3-b01a-6b6c4b9c13b0" providerId="ADAL" clId="{57B684CD-A78F-AC41-8A6B-2DE4F088CC76}" dt="2023-09-04T13:26:33.832" v="3" actId="22"/>
          <ac:spMkLst>
            <pc:docMk/>
            <pc:sldMk cId="3370211378" sldId="315"/>
            <ac:spMk id="5" creationId="{D61875CD-0856-B878-D687-9ECCDBFC0728}"/>
          </ac:spMkLst>
        </pc:spChg>
        <pc:spChg chg="add del">
          <ac:chgData name="Stewart, Gavin" userId="0cffdf04-cba2-46b3-b01a-6b6c4b9c13b0" providerId="ADAL" clId="{57B684CD-A78F-AC41-8A6B-2DE4F088CC76}" dt="2023-09-04T13:30:50.164" v="24" actId="22"/>
          <ac:spMkLst>
            <pc:docMk/>
            <pc:sldMk cId="3370211378" sldId="315"/>
            <ac:spMk id="7" creationId="{DA4E269B-84C5-BC4E-2224-0E1EABAFD3B2}"/>
          </ac:spMkLst>
        </pc:spChg>
        <pc:spChg chg="add del">
          <ac:chgData name="Stewart, Gavin" userId="0cffdf04-cba2-46b3-b01a-6b6c4b9c13b0" providerId="ADAL" clId="{57B684CD-A78F-AC41-8A6B-2DE4F088CC76}" dt="2023-09-04T13:30:46.783" v="22" actId="22"/>
          <ac:spMkLst>
            <pc:docMk/>
            <pc:sldMk cId="3370211378" sldId="315"/>
            <ac:spMk id="9" creationId="{5D08F3A4-D42E-3E35-BA10-2E554709C410}"/>
          </ac:spMkLst>
        </pc:spChg>
        <pc:spChg chg="add del">
          <ac:chgData name="Stewart, Gavin" userId="0cffdf04-cba2-46b3-b01a-6b6c4b9c13b0" providerId="ADAL" clId="{57B684CD-A78F-AC41-8A6B-2DE4F088CC76}" dt="2023-09-04T13:30:41.178" v="19" actId="22"/>
          <ac:spMkLst>
            <pc:docMk/>
            <pc:sldMk cId="3370211378" sldId="315"/>
            <ac:spMk id="11" creationId="{8E83EBDF-03B3-3A29-0C89-A56BC67B3DC6}"/>
          </ac:spMkLst>
        </pc:spChg>
        <pc:spChg chg="add del">
          <ac:chgData name="Stewart, Gavin" userId="0cffdf04-cba2-46b3-b01a-6b6c4b9c13b0" providerId="ADAL" clId="{57B684CD-A78F-AC41-8A6B-2DE4F088CC76}" dt="2023-09-04T13:30:41.178" v="19" actId="22"/>
          <ac:spMkLst>
            <pc:docMk/>
            <pc:sldMk cId="3370211378" sldId="315"/>
            <ac:spMk id="13" creationId="{63013B77-AFBB-9A14-7718-87021B377D51}"/>
          </ac:spMkLst>
        </pc:spChg>
        <pc:spChg chg="add del">
          <ac:chgData name="Stewart, Gavin" userId="0cffdf04-cba2-46b3-b01a-6b6c4b9c13b0" providerId="ADAL" clId="{57B684CD-A78F-AC41-8A6B-2DE4F088CC76}" dt="2023-09-04T13:30:41.178" v="19" actId="22"/>
          <ac:spMkLst>
            <pc:docMk/>
            <pc:sldMk cId="3370211378" sldId="315"/>
            <ac:spMk id="15" creationId="{993105A7-264D-63D2-146D-2FD166C14B36}"/>
          </ac:spMkLst>
        </pc:spChg>
        <pc:spChg chg="add del">
          <ac:chgData name="Stewart, Gavin" userId="0cffdf04-cba2-46b3-b01a-6b6c4b9c13b0" providerId="ADAL" clId="{57B684CD-A78F-AC41-8A6B-2DE4F088CC76}" dt="2023-09-04T13:30:41.178" v="19" actId="22"/>
          <ac:spMkLst>
            <pc:docMk/>
            <pc:sldMk cId="3370211378" sldId="315"/>
            <ac:spMk id="17" creationId="{B06A3347-62B2-AF1E-5897-E872F15960E1}"/>
          </ac:spMkLst>
        </pc:spChg>
        <pc:spChg chg="add mod">
          <ac:chgData name="Stewart, Gavin" userId="0cffdf04-cba2-46b3-b01a-6b6c4b9c13b0" providerId="ADAL" clId="{57B684CD-A78F-AC41-8A6B-2DE4F088CC76}" dt="2023-09-04T13:31:21.416" v="28" actId="1076"/>
          <ac:spMkLst>
            <pc:docMk/>
            <pc:sldMk cId="3370211378" sldId="315"/>
            <ac:spMk id="21" creationId="{8B9EDDE3-BB2D-05B9-72AE-773501792767}"/>
          </ac:spMkLst>
        </pc:spChg>
        <pc:spChg chg="add mod">
          <ac:chgData name="Stewart, Gavin" userId="0cffdf04-cba2-46b3-b01a-6b6c4b9c13b0" providerId="ADAL" clId="{57B684CD-A78F-AC41-8A6B-2DE4F088CC76}" dt="2023-09-04T13:31:21.416" v="28" actId="1076"/>
          <ac:spMkLst>
            <pc:docMk/>
            <pc:sldMk cId="3370211378" sldId="315"/>
            <ac:spMk id="23" creationId="{E4FD48A3-33E1-FCBA-2B59-94B8DF07E2DA}"/>
          </ac:spMkLst>
        </pc:spChg>
        <pc:spChg chg="add mod">
          <ac:chgData name="Stewart, Gavin" userId="0cffdf04-cba2-46b3-b01a-6b6c4b9c13b0" providerId="ADAL" clId="{57B684CD-A78F-AC41-8A6B-2DE4F088CC76}" dt="2023-09-04T13:32:29.749" v="35" actId="1076"/>
          <ac:spMkLst>
            <pc:docMk/>
            <pc:sldMk cId="3370211378" sldId="315"/>
            <ac:spMk id="25" creationId="{B56E60EE-D731-5A64-DBE1-381263883B27}"/>
          </ac:spMkLst>
        </pc:spChg>
        <pc:spChg chg="add mod">
          <ac:chgData name="Stewart, Gavin" userId="0cffdf04-cba2-46b3-b01a-6b6c4b9c13b0" providerId="ADAL" clId="{57B684CD-A78F-AC41-8A6B-2DE4F088CC76}" dt="2023-09-04T13:32:29.749" v="35" actId="1076"/>
          <ac:spMkLst>
            <pc:docMk/>
            <pc:sldMk cId="3370211378" sldId="315"/>
            <ac:spMk id="27" creationId="{5E0C129B-9167-B129-545A-52F6B942703A}"/>
          </ac:spMkLst>
        </pc:spChg>
        <pc:spChg chg="add mod">
          <ac:chgData name="Stewart, Gavin" userId="0cffdf04-cba2-46b3-b01a-6b6c4b9c13b0" providerId="ADAL" clId="{57B684CD-A78F-AC41-8A6B-2DE4F088CC76}" dt="2023-09-04T13:32:17.388" v="34" actId="1076"/>
          <ac:spMkLst>
            <pc:docMk/>
            <pc:sldMk cId="3370211378" sldId="315"/>
            <ac:spMk id="29" creationId="{F7613BC2-B703-3A1E-A476-3521E6A04051}"/>
          </ac:spMkLst>
        </pc:spChg>
        <pc:spChg chg="add mod">
          <ac:chgData name="Stewart, Gavin" userId="0cffdf04-cba2-46b3-b01a-6b6c4b9c13b0" providerId="ADAL" clId="{57B684CD-A78F-AC41-8A6B-2DE4F088CC76}" dt="2023-09-04T13:32:17.388" v="34" actId="1076"/>
          <ac:spMkLst>
            <pc:docMk/>
            <pc:sldMk cId="3370211378" sldId="315"/>
            <ac:spMk id="31" creationId="{B0EA043A-F977-2780-930A-C8C91447953E}"/>
          </ac:spMkLst>
        </pc:spChg>
      </pc:sldChg>
    </pc:docChg>
  </pc:docChgLst>
  <pc:docChgLst>
    <pc:chgData name="Stewart, Gavin" userId="0cffdf04-cba2-46b3-b01a-6b6c4b9c13b0" providerId="ADAL" clId="{CBEB6F8F-74EB-4132-8EAC-650D7CEE0930}"/>
    <pc:docChg chg="undo custSel addSld delSld modSld">
      <pc:chgData name="Stewart, Gavin" userId="0cffdf04-cba2-46b3-b01a-6b6c4b9c13b0" providerId="ADAL" clId="{CBEB6F8F-74EB-4132-8EAC-650D7CEE0930}" dt="2023-09-03T21:40:40.486" v="1673" actId="5793"/>
      <pc:docMkLst>
        <pc:docMk/>
      </pc:docMkLst>
      <pc:sldChg chg="addSp delSp modSp mod modAnim modNotesTx">
        <pc:chgData name="Stewart, Gavin" userId="0cffdf04-cba2-46b3-b01a-6b6c4b9c13b0" providerId="ADAL" clId="{CBEB6F8F-74EB-4132-8EAC-650D7CEE0930}" dt="2023-09-03T21:40:40.486" v="1673" actId="5793"/>
        <pc:sldMkLst>
          <pc:docMk/>
          <pc:sldMk cId="92766013" sldId="298"/>
        </pc:sldMkLst>
        <pc:spChg chg="add del mod">
          <ac:chgData name="Stewart, Gavin" userId="0cffdf04-cba2-46b3-b01a-6b6c4b9c13b0" providerId="ADAL" clId="{CBEB6F8F-74EB-4132-8EAC-650D7CEE0930}" dt="2023-09-01T15:19:48.498" v="47" actId="478"/>
          <ac:spMkLst>
            <pc:docMk/>
            <pc:sldMk cId="92766013" sldId="298"/>
            <ac:spMk id="3" creationId="{916DA1C9-EE24-CBA9-77FD-0B63D453AB41}"/>
          </ac:spMkLst>
        </pc:spChg>
        <pc:spChg chg="mod">
          <ac:chgData name="Stewart, Gavin" userId="0cffdf04-cba2-46b3-b01a-6b6c4b9c13b0" providerId="ADAL" clId="{CBEB6F8F-74EB-4132-8EAC-650D7CEE0930}" dt="2023-09-01T16:08:40.373" v="1207" actId="1076"/>
          <ac:spMkLst>
            <pc:docMk/>
            <pc:sldMk cId="92766013" sldId="298"/>
            <ac:spMk id="5" creationId="{EA0D21F9-E13D-6BEE-F40B-D268A48BBA65}"/>
          </ac:spMkLst>
        </pc:spChg>
        <pc:spChg chg="mod">
          <ac:chgData name="Stewart, Gavin" userId="0cffdf04-cba2-46b3-b01a-6b6c4b9c13b0" providerId="ADAL" clId="{CBEB6F8F-74EB-4132-8EAC-650D7CEE0930}" dt="2023-09-01T15:19:42.397" v="44" actId="20577"/>
          <ac:spMkLst>
            <pc:docMk/>
            <pc:sldMk cId="92766013" sldId="298"/>
            <ac:spMk id="7" creationId="{3874C5F1-89FD-14F1-7F6B-8503A8EF88D3}"/>
          </ac:spMkLst>
        </pc:spChg>
        <pc:spChg chg="mod">
          <ac:chgData name="Stewart, Gavin" userId="0cffdf04-cba2-46b3-b01a-6b6c4b9c13b0" providerId="ADAL" clId="{CBEB6F8F-74EB-4132-8EAC-650D7CEE0930}" dt="2023-09-01T15:20:43.981" v="48"/>
          <ac:spMkLst>
            <pc:docMk/>
            <pc:sldMk cId="92766013" sldId="298"/>
            <ac:spMk id="8" creationId="{D4B93AE0-FE6E-0631-7211-3B58A5D1275D}"/>
          </ac:spMkLst>
        </pc:spChg>
        <pc:spChg chg="del">
          <ac:chgData name="Stewart, Gavin" userId="0cffdf04-cba2-46b3-b01a-6b6c4b9c13b0" providerId="ADAL" clId="{CBEB6F8F-74EB-4132-8EAC-650D7CEE0930}" dt="2023-09-01T15:19:46.448" v="45" actId="478"/>
          <ac:spMkLst>
            <pc:docMk/>
            <pc:sldMk cId="92766013" sldId="298"/>
            <ac:spMk id="9" creationId="{0AA0FB88-DB40-535E-BB9E-20D476E68080}"/>
          </ac:spMkLst>
        </pc:spChg>
        <pc:spChg chg="mod">
          <ac:chgData name="Stewart, Gavin" userId="0cffdf04-cba2-46b3-b01a-6b6c4b9c13b0" providerId="ADAL" clId="{CBEB6F8F-74EB-4132-8EAC-650D7CEE0930}" dt="2023-09-01T15:20:43.981" v="48"/>
          <ac:spMkLst>
            <pc:docMk/>
            <pc:sldMk cId="92766013" sldId="298"/>
            <ac:spMk id="11" creationId="{0AA5B5DD-6C50-3D25-A241-D6EE9E5E7E74}"/>
          </ac:spMkLst>
        </pc:spChg>
        <pc:spChg chg="mod">
          <ac:chgData name="Stewart, Gavin" userId="0cffdf04-cba2-46b3-b01a-6b6c4b9c13b0" providerId="ADAL" clId="{CBEB6F8F-74EB-4132-8EAC-650D7CEE0930}" dt="2023-09-01T15:20:43.981" v="48"/>
          <ac:spMkLst>
            <pc:docMk/>
            <pc:sldMk cId="92766013" sldId="298"/>
            <ac:spMk id="12" creationId="{3BA78E6B-AA5C-8CED-4610-343E577753AB}"/>
          </ac:spMkLst>
        </pc:spChg>
        <pc:spChg chg="mod">
          <ac:chgData name="Stewart, Gavin" userId="0cffdf04-cba2-46b3-b01a-6b6c4b9c13b0" providerId="ADAL" clId="{CBEB6F8F-74EB-4132-8EAC-650D7CEE0930}" dt="2023-09-01T15:20:43.981" v="48"/>
          <ac:spMkLst>
            <pc:docMk/>
            <pc:sldMk cId="92766013" sldId="298"/>
            <ac:spMk id="13" creationId="{0DCB667B-A7B9-15F0-D406-B4CFFDA6CEB7}"/>
          </ac:spMkLst>
        </pc:spChg>
        <pc:spChg chg="mod">
          <ac:chgData name="Stewart, Gavin" userId="0cffdf04-cba2-46b3-b01a-6b6c4b9c13b0" providerId="ADAL" clId="{CBEB6F8F-74EB-4132-8EAC-650D7CEE0930}" dt="2023-09-01T15:47:28.698" v="872" actId="1076"/>
          <ac:spMkLst>
            <pc:docMk/>
            <pc:sldMk cId="92766013" sldId="298"/>
            <ac:spMk id="14" creationId="{8C22BEE3-C26A-50C4-B2A0-D45C46C97319}"/>
          </ac:spMkLst>
        </pc:spChg>
        <pc:spChg chg="add mod">
          <ac:chgData name="Stewart, Gavin" userId="0cffdf04-cba2-46b3-b01a-6b6c4b9c13b0" providerId="ADAL" clId="{CBEB6F8F-74EB-4132-8EAC-650D7CEE0930}" dt="2023-09-01T16:12:39.580" v="1506" actId="1076"/>
          <ac:spMkLst>
            <pc:docMk/>
            <pc:sldMk cId="92766013" sldId="298"/>
            <ac:spMk id="19" creationId="{495AED3C-16DA-9BF3-D4BA-A3C6E7FD061A}"/>
          </ac:spMkLst>
        </pc:spChg>
        <pc:spChg chg="add mod">
          <ac:chgData name="Stewart, Gavin" userId="0cffdf04-cba2-46b3-b01a-6b6c4b9c13b0" providerId="ADAL" clId="{CBEB6F8F-74EB-4132-8EAC-650D7CEE0930}" dt="2023-09-01T16:12:45.843" v="1507" actId="1076"/>
          <ac:spMkLst>
            <pc:docMk/>
            <pc:sldMk cId="92766013" sldId="298"/>
            <ac:spMk id="20" creationId="{954042C1-03F7-E4DE-6BD6-8511E2A2A5EA}"/>
          </ac:spMkLst>
        </pc:spChg>
        <pc:spChg chg="add mod">
          <ac:chgData name="Stewart, Gavin" userId="0cffdf04-cba2-46b3-b01a-6b6c4b9c13b0" providerId="ADAL" clId="{CBEB6F8F-74EB-4132-8EAC-650D7CEE0930}" dt="2023-09-01T16:13:13.308" v="1513" actId="1076"/>
          <ac:spMkLst>
            <pc:docMk/>
            <pc:sldMk cId="92766013" sldId="298"/>
            <ac:spMk id="21" creationId="{95CABF1C-7C93-ADA5-362D-82EE48B109C1}"/>
          </ac:spMkLst>
        </pc:spChg>
        <pc:spChg chg="add mod">
          <ac:chgData name="Stewart, Gavin" userId="0cffdf04-cba2-46b3-b01a-6b6c4b9c13b0" providerId="ADAL" clId="{CBEB6F8F-74EB-4132-8EAC-650D7CEE0930}" dt="2023-09-01T16:13:24.164" v="1514" actId="1076"/>
          <ac:spMkLst>
            <pc:docMk/>
            <pc:sldMk cId="92766013" sldId="298"/>
            <ac:spMk id="22" creationId="{756C8512-355D-D1DF-0A11-02093C67AF89}"/>
          </ac:spMkLst>
        </pc:spChg>
        <pc:spChg chg="add mod">
          <ac:chgData name="Stewart, Gavin" userId="0cffdf04-cba2-46b3-b01a-6b6c4b9c13b0" providerId="ADAL" clId="{CBEB6F8F-74EB-4132-8EAC-650D7CEE0930}" dt="2023-09-01T16:13:09.762" v="1512" actId="1076"/>
          <ac:spMkLst>
            <pc:docMk/>
            <pc:sldMk cId="92766013" sldId="298"/>
            <ac:spMk id="23" creationId="{1C4EC5B6-02A3-A9BD-49D6-78E847BF3C99}"/>
          </ac:spMkLst>
        </pc:spChg>
        <pc:spChg chg="add mod">
          <ac:chgData name="Stewart, Gavin" userId="0cffdf04-cba2-46b3-b01a-6b6c4b9c13b0" providerId="ADAL" clId="{CBEB6F8F-74EB-4132-8EAC-650D7CEE0930}" dt="2023-09-01T16:13:28.638" v="1515" actId="1076"/>
          <ac:spMkLst>
            <pc:docMk/>
            <pc:sldMk cId="92766013" sldId="298"/>
            <ac:spMk id="24" creationId="{166EF504-9DAA-E19D-3176-18588BC6B07C}"/>
          </ac:spMkLst>
        </pc:spChg>
        <pc:spChg chg="add mod">
          <ac:chgData name="Stewart, Gavin" userId="0cffdf04-cba2-46b3-b01a-6b6c4b9c13b0" providerId="ADAL" clId="{CBEB6F8F-74EB-4132-8EAC-650D7CEE0930}" dt="2023-09-01T16:10:26.054" v="1314" actId="571"/>
          <ac:spMkLst>
            <pc:docMk/>
            <pc:sldMk cId="92766013" sldId="298"/>
            <ac:spMk id="25" creationId="{7C8341BE-81ED-33D0-8F0C-C2BBBA95E43A}"/>
          </ac:spMkLst>
        </pc:spChg>
        <pc:spChg chg="add mod">
          <ac:chgData name="Stewart, Gavin" userId="0cffdf04-cba2-46b3-b01a-6b6c4b9c13b0" providerId="ADAL" clId="{CBEB6F8F-74EB-4132-8EAC-650D7CEE0930}" dt="2023-09-01T16:10:26.054" v="1314" actId="571"/>
          <ac:spMkLst>
            <pc:docMk/>
            <pc:sldMk cId="92766013" sldId="298"/>
            <ac:spMk id="26" creationId="{EF7C4748-3154-CC5F-E875-9B8B30DBBDE1}"/>
          </ac:spMkLst>
        </pc:spChg>
        <pc:spChg chg="add mod">
          <ac:chgData name="Stewart, Gavin" userId="0cffdf04-cba2-46b3-b01a-6b6c4b9c13b0" providerId="ADAL" clId="{CBEB6F8F-74EB-4132-8EAC-650D7CEE0930}" dt="2023-09-01T16:12:54.868" v="1510" actId="1076"/>
          <ac:spMkLst>
            <pc:docMk/>
            <pc:sldMk cId="92766013" sldId="298"/>
            <ac:spMk id="27" creationId="{FF9BC7B3-9ED7-06AB-7A7E-AED096AD167E}"/>
          </ac:spMkLst>
        </pc:spChg>
        <pc:spChg chg="add mod">
          <ac:chgData name="Stewart, Gavin" userId="0cffdf04-cba2-46b3-b01a-6b6c4b9c13b0" providerId="ADAL" clId="{CBEB6F8F-74EB-4132-8EAC-650D7CEE0930}" dt="2023-09-01T16:13:34.152" v="1516" actId="1076"/>
          <ac:spMkLst>
            <pc:docMk/>
            <pc:sldMk cId="92766013" sldId="298"/>
            <ac:spMk id="28" creationId="{73E69D4C-29B5-6D36-E841-FCC6CB48FFFB}"/>
          </ac:spMkLst>
        </pc:spChg>
        <pc:spChg chg="add mod">
          <ac:chgData name="Stewart, Gavin" userId="0cffdf04-cba2-46b3-b01a-6b6c4b9c13b0" providerId="ADAL" clId="{CBEB6F8F-74EB-4132-8EAC-650D7CEE0930}" dt="2023-09-01T16:13:54.506" v="1518" actId="1076"/>
          <ac:spMkLst>
            <pc:docMk/>
            <pc:sldMk cId="92766013" sldId="298"/>
            <ac:spMk id="29" creationId="{7F123C1E-077A-84A2-F9C2-A5C68FE520D4}"/>
          </ac:spMkLst>
        </pc:spChg>
        <pc:spChg chg="add mod">
          <ac:chgData name="Stewart, Gavin" userId="0cffdf04-cba2-46b3-b01a-6b6c4b9c13b0" providerId="ADAL" clId="{CBEB6F8F-74EB-4132-8EAC-650D7CEE0930}" dt="2023-09-01T16:13:57.357" v="1519" actId="1076"/>
          <ac:spMkLst>
            <pc:docMk/>
            <pc:sldMk cId="92766013" sldId="298"/>
            <ac:spMk id="30" creationId="{7126CB19-7BCE-2516-FA07-71401D89A703}"/>
          </ac:spMkLst>
        </pc:spChg>
        <pc:grpChg chg="add del mod">
          <ac:chgData name="Stewart, Gavin" userId="0cffdf04-cba2-46b3-b01a-6b6c4b9c13b0" providerId="ADAL" clId="{CBEB6F8F-74EB-4132-8EAC-650D7CEE0930}" dt="2023-09-01T16:12:03.075" v="1502" actId="478"/>
          <ac:grpSpMkLst>
            <pc:docMk/>
            <pc:sldMk cId="92766013" sldId="298"/>
            <ac:grpSpMk id="4" creationId="{D898679E-65AF-9E9C-AE27-0317B153275B}"/>
          </ac:grpSpMkLst>
        </pc:grpChg>
        <pc:graphicFrameChg chg="del">
          <ac:chgData name="Stewart, Gavin" userId="0cffdf04-cba2-46b3-b01a-6b6c4b9c13b0" providerId="ADAL" clId="{CBEB6F8F-74EB-4132-8EAC-650D7CEE0930}" dt="2023-09-01T15:19:47.816" v="46" actId="478"/>
          <ac:graphicFrameMkLst>
            <pc:docMk/>
            <pc:sldMk cId="92766013" sldId="298"/>
            <ac:graphicFrameMk id="10" creationId="{676EDB0B-6C0E-D462-C002-AD20C49B7867}"/>
          </ac:graphicFrameMkLst>
        </pc:graphicFrameChg>
        <pc:picChg chg="add mod">
          <ac:chgData name="Stewart, Gavin" userId="0cffdf04-cba2-46b3-b01a-6b6c4b9c13b0" providerId="ADAL" clId="{CBEB6F8F-74EB-4132-8EAC-650D7CEE0930}" dt="2023-09-01T16:14:04.745" v="1520" actId="1076"/>
          <ac:picMkLst>
            <pc:docMk/>
            <pc:sldMk cId="92766013" sldId="298"/>
            <ac:picMk id="16" creationId="{86BF9834-38CE-CF95-B939-8C950A6A1ED3}"/>
          </ac:picMkLst>
        </pc:picChg>
        <pc:picChg chg="add del">
          <ac:chgData name="Stewart, Gavin" userId="0cffdf04-cba2-46b3-b01a-6b6c4b9c13b0" providerId="ADAL" clId="{CBEB6F8F-74EB-4132-8EAC-650D7CEE0930}" dt="2023-09-01T15:33:09.988" v="342" actId="22"/>
          <ac:picMkLst>
            <pc:docMk/>
            <pc:sldMk cId="92766013" sldId="298"/>
            <ac:picMk id="18" creationId="{8CF84E1D-5255-3720-C1D3-7680F45D9900}"/>
          </ac:picMkLst>
        </pc:picChg>
      </pc:sldChg>
      <pc:sldChg chg="addSp delSp modSp mod modAnim modNotesTx">
        <pc:chgData name="Stewart, Gavin" userId="0cffdf04-cba2-46b3-b01a-6b6c4b9c13b0" providerId="ADAL" clId="{CBEB6F8F-74EB-4132-8EAC-650D7CEE0930}" dt="2023-09-01T17:49:39.066" v="1671" actId="20577"/>
        <pc:sldMkLst>
          <pc:docMk/>
          <pc:sldMk cId="857514324" sldId="302"/>
        </pc:sldMkLst>
        <pc:spChg chg="mod topLvl">
          <ac:chgData name="Stewart, Gavin" userId="0cffdf04-cba2-46b3-b01a-6b6c4b9c13b0" providerId="ADAL" clId="{CBEB6F8F-74EB-4132-8EAC-650D7CEE0930}" dt="2023-09-01T15:28:17.113" v="280" actId="1076"/>
          <ac:spMkLst>
            <pc:docMk/>
            <pc:sldMk cId="857514324" sldId="302"/>
            <ac:spMk id="3" creationId="{A91D3D40-4244-84A0-F764-9414E020D6C8}"/>
          </ac:spMkLst>
        </pc:spChg>
        <pc:spChg chg="add del mod">
          <ac:chgData name="Stewart, Gavin" userId="0cffdf04-cba2-46b3-b01a-6b6c4b9c13b0" providerId="ADAL" clId="{CBEB6F8F-74EB-4132-8EAC-650D7CEE0930}" dt="2023-09-01T15:50:08.286" v="911" actId="478"/>
          <ac:spMkLst>
            <pc:docMk/>
            <pc:sldMk cId="857514324" sldId="302"/>
            <ac:spMk id="4" creationId="{2CD26062-0530-10C9-D95C-BF3D5414495D}"/>
          </ac:spMkLst>
        </pc:spChg>
        <pc:spChg chg="mod">
          <ac:chgData name="Stewart, Gavin" userId="0cffdf04-cba2-46b3-b01a-6b6c4b9c13b0" providerId="ADAL" clId="{CBEB6F8F-74EB-4132-8EAC-650D7CEE0930}" dt="2023-09-01T16:02:54.921" v="1099" actId="14100"/>
          <ac:spMkLst>
            <pc:docMk/>
            <pc:sldMk cId="857514324" sldId="302"/>
            <ac:spMk id="9" creationId="{9A6416ED-5533-E84A-0BB4-3B6FF11B0DE5}"/>
          </ac:spMkLst>
        </pc:spChg>
        <pc:spChg chg="del mod">
          <ac:chgData name="Stewart, Gavin" userId="0cffdf04-cba2-46b3-b01a-6b6c4b9c13b0" providerId="ADAL" clId="{CBEB6F8F-74EB-4132-8EAC-650D7CEE0930}" dt="2023-09-01T16:01:06.868" v="1066" actId="478"/>
          <ac:spMkLst>
            <pc:docMk/>
            <pc:sldMk cId="857514324" sldId="302"/>
            <ac:spMk id="10" creationId="{999EE90A-7BBC-1216-D671-F8CEAC050DFF}"/>
          </ac:spMkLst>
        </pc:spChg>
        <pc:spChg chg="mod">
          <ac:chgData name="Stewart, Gavin" userId="0cffdf04-cba2-46b3-b01a-6b6c4b9c13b0" providerId="ADAL" clId="{CBEB6F8F-74EB-4132-8EAC-650D7CEE0930}" dt="2023-09-01T15:49:33.458" v="898"/>
          <ac:spMkLst>
            <pc:docMk/>
            <pc:sldMk cId="857514324" sldId="302"/>
            <ac:spMk id="12" creationId="{5E676EA1-2CAF-8393-619B-972FD03686D4}"/>
          </ac:spMkLst>
        </pc:spChg>
        <pc:spChg chg="del mod">
          <ac:chgData name="Stewart, Gavin" userId="0cffdf04-cba2-46b3-b01a-6b6c4b9c13b0" providerId="ADAL" clId="{CBEB6F8F-74EB-4132-8EAC-650D7CEE0930}" dt="2023-09-01T15:49:46.945" v="901" actId="478"/>
          <ac:spMkLst>
            <pc:docMk/>
            <pc:sldMk cId="857514324" sldId="302"/>
            <ac:spMk id="14" creationId="{C3F06E8D-B31C-91AF-FB51-DA9016ECDDB2}"/>
          </ac:spMkLst>
        </pc:spChg>
        <pc:spChg chg="del mod">
          <ac:chgData name="Stewart, Gavin" userId="0cffdf04-cba2-46b3-b01a-6b6c4b9c13b0" providerId="ADAL" clId="{CBEB6F8F-74EB-4132-8EAC-650D7CEE0930}" dt="2023-09-01T15:49:52.157" v="904" actId="478"/>
          <ac:spMkLst>
            <pc:docMk/>
            <pc:sldMk cId="857514324" sldId="302"/>
            <ac:spMk id="15" creationId="{6A1B3E4E-2720-483B-93D7-882994F80E54}"/>
          </ac:spMkLst>
        </pc:spChg>
        <pc:spChg chg="del mod">
          <ac:chgData name="Stewart, Gavin" userId="0cffdf04-cba2-46b3-b01a-6b6c4b9c13b0" providerId="ADAL" clId="{CBEB6F8F-74EB-4132-8EAC-650D7CEE0930}" dt="2023-09-01T15:49:56.951" v="907" actId="478"/>
          <ac:spMkLst>
            <pc:docMk/>
            <pc:sldMk cId="857514324" sldId="302"/>
            <ac:spMk id="22" creationId="{2DCEE295-DFDC-FCE5-46C4-DEE6B8D3C797}"/>
          </ac:spMkLst>
        </pc:spChg>
        <pc:spChg chg="add mod">
          <ac:chgData name="Stewart, Gavin" userId="0cffdf04-cba2-46b3-b01a-6b6c4b9c13b0" providerId="ADAL" clId="{CBEB6F8F-74EB-4132-8EAC-650D7CEE0930}" dt="2023-09-01T16:07:05.406" v="1198" actId="1076"/>
          <ac:spMkLst>
            <pc:docMk/>
            <pc:sldMk cId="857514324" sldId="302"/>
            <ac:spMk id="23" creationId="{9A3B403B-2BE5-70BC-DC06-556CB1DE6FFA}"/>
          </ac:spMkLst>
        </pc:spChg>
        <pc:spChg chg="add mod">
          <ac:chgData name="Stewart, Gavin" userId="0cffdf04-cba2-46b3-b01a-6b6c4b9c13b0" providerId="ADAL" clId="{CBEB6F8F-74EB-4132-8EAC-650D7CEE0930}" dt="2023-09-01T16:07:05.406" v="1198" actId="1076"/>
          <ac:spMkLst>
            <pc:docMk/>
            <pc:sldMk cId="857514324" sldId="302"/>
            <ac:spMk id="24" creationId="{1812B171-5521-1D70-52F3-07A4FDB67EAC}"/>
          </ac:spMkLst>
        </pc:spChg>
        <pc:spChg chg="add mod">
          <ac:chgData name="Stewart, Gavin" userId="0cffdf04-cba2-46b3-b01a-6b6c4b9c13b0" providerId="ADAL" clId="{CBEB6F8F-74EB-4132-8EAC-650D7CEE0930}" dt="2023-09-01T16:07:28.082" v="1200" actId="1076"/>
          <ac:spMkLst>
            <pc:docMk/>
            <pc:sldMk cId="857514324" sldId="302"/>
            <ac:spMk id="25" creationId="{630C2F90-191F-A2EB-3160-F7E98B4A9895}"/>
          </ac:spMkLst>
        </pc:spChg>
        <pc:spChg chg="add mod">
          <ac:chgData name="Stewart, Gavin" userId="0cffdf04-cba2-46b3-b01a-6b6c4b9c13b0" providerId="ADAL" clId="{CBEB6F8F-74EB-4132-8EAC-650D7CEE0930}" dt="2023-09-01T16:07:28.082" v="1200" actId="1076"/>
          <ac:spMkLst>
            <pc:docMk/>
            <pc:sldMk cId="857514324" sldId="302"/>
            <ac:spMk id="26" creationId="{19C1C38E-55AE-A7BD-146B-C89FF58CB3A2}"/>
          </ac:spMkLst>
        </pc:spChg>
        <pc:spChg chg="add mod">
          <ac:chgData name="Stewart, Gavin" userId="0cffdf04-cba2-46b3-b01a-6b6c4b9c13b0" providerId="ADAL" clId="{CBEB6F8F-74EB-4132-8EAC-650D7CEE0930}" dt="2023-09-01T16:07:46.957" v="1202" actId="1076"/>
          <ac:spMkLst>
            <pc:docMk/>
            <pc:sldMk cId="857514324" sldId="302"/>
            <ac:spMk id="27" creationId="{CD87F387-3F8F-5D22-6486-A05C15A9221B}"/>
          </ac:spMkLst>
        </pc:spChg>
        <pc:spChg chg="add mod">
          <ac:chgData name="Stewart, Gavin" userId="0cffdf04-cba2-46b3-b01a-6b6c4b9c13b0" providerId="ADAL" clId="{CBEB6F8F-74EB-4132-8EAC-650D7CEE0930}" dt="2023-09-01T16:07:46.957" v="1202" actId="1076"/>
          <ac:spMkLst>
            <pc:docMk/>
            <pc:sldMk cId="857514324" sldId="302"/>
            <ac:spMk id="28" creationId="{3593D900-D14E-1652-4825-3C7897A7DE6C}"/>
          </ac:spMkLst>
        </pc:spChg>
        <pc:grpChg chg="add del mod">
          <ac:chgData name="Stewart, Gavin" userId="0cffdf04-cba2-46b3-b01a-6b6c4b9c13b0" providerId="ADAL" clId="{CBEB6F8F-74EB-4132-8EAC-650D7CEE0930}" dt="2023-09-01T16:03:04.205" v="1100" actId="478"/>
          <ac:grpSpMkLst>
            <pc:docMk/>
            <pc:sldMk cId="857514324" sldId="302"/>
            <ac:grpSpMk id="6" creationId="{01494815-89CD-5BF5-772A-8A92F3716490}"/>
          </ac:grpSpMkLst>
        </pc:grpChg>
        <pc:grpChg chg="add del">
          <ac:chgData name="Stewart, Gavin" userId="0cffdf04-cba2-46b3-b01a-6b6c4b9c13b0" providerId="ADAL" clId="{CBEB6F8F-74EB-4132-8EAC-650D7CEE0930}" dt="2023-09-01T15:28:08.658" v="277" actId="478"/>
          <ac:grpSpMkLst>
            <pc:docMk/>
            <pc:sldMk cId="857514324" sldId="302"/>
            <ac:grpSpMk id="8" creationId="{AEA8C52A-3FD6-B9C8-94C3-7023FACB1803}"/>
          </ac:grpSpMkLst>
        </pc:grpChg>
        <pc:grpChg chg="del">
          <ac:chgData name="Stewart, Gavin" userId="0cffdf04-cba2-46b3-b01a-6b6c4b9c13b0" providerId="ADAL" clId="{CBEB6F8F-74EB-4132-8EAC-650D7CEE0930}" dt="2023-09-01T15:38:23.391" v="476" actId="478"/>
          <ac:grpSpMkLst>
            <pc:docMk/>
            <pc:sldMk cId="857514324" sldId="302"/>
            <ac:grpSpMk id="21" creationId="{F47961B1-2EA4-CABE-AAD5-B2828A0A1CBE}"/>
          </ac:grpSpMkLst>
        </pc:grpChg>
        <pc:graphicFrameChg chg="add mod modGraphic">
          <ac:chgData name="Stewart, Gavin" userId="0cffdf04-cba2-46b3-b01a-6b6c4b9c13b0" providerId="ADAL" clId="{CBEB6F8F-74EB-4132-8EAC-650D7CEE0930}" dt="2023-09-01T15:59:56.588" v="1006" actId="1076"/>
          <ac:graphicFrameMkLst>
            <pc:docMk/>
            <pc:sldMk cId="857514324" sldId="302"/>
            <ac:graphicFrameMk id="2" creationId="{8BC921A5-6049-9E72-8EDA-5DA987D6266A}"/>
          </ac:graphicFrameMkLst>
        </pc:graphicFrameChg>
        <pc:picChg chg="add del">
          <ac:chgData name="Stewart, Gavin" userId="0cffdf04-cba2-46b3-b01a-6b6c4b9c13b0" providerId="ADAL" clId="{CBEB6F8F-74EB-4132-8EAC-650D7CEE0930}" dt="2023-09-01T15:35:16.338" v="475" actId="478"/>
          <ac:picMkLst>
            <pc:docMk/>
            <pc:sldMk cId="857514324" sldId="302"/>
            <ac:picMk id="13" creationId="{AF221C93-C62F-A01D-8A68-5B40A2681B77}"/>
          </ac:picMkLst>
        </pc:picChg>
        <pc:cxnChg chg="del">
          <ac:chgData name="Stewart, Gavin" userId="0cffdf04-cba2-46b3-b01a-6b6c4b9c13b0" providerId="ADAL" clId="{CBEB6F8F-74EB-4132-8EAC-650D7CEE0930}" dt="2023-09-01T15:28:04.099" v="274" actId="478"/>
          <ac:cxnSpMkLst>
            <pc:docMk/>
            <pc:sldMk cId="857514324" sldId="302"/>
            <ac:cxnSpMk id="5" creationId="{0B94DA47-2AA6-8682-BF84-502B97E81E30}"/>
          </ac:cxnSpMkLst>
        </pc:cxnChg>
        <pc:cxnChg chg="del topLvl">
          <ac:chgData name="Stewart, Gavin" userId="0cffdf04-cba2-46b3-b01a-6b6c4b9c13b0" providerId="ADAL" clId="{CBEB6F8F-74EB-4132-8EAC-650D7CEE0930}" dt="2023-09-01T15:28:08.658" v="277" actId="478"/>
          <ac:cxnSpMkLst>
            <pc:docMk/>
            <pc:sldMk cId="857514324" sldId="302"/>
            <ac:cxnSpMk id="7" creationId="{4886DA5C-FAB3-3493-2056-AA2B3558BF2C}"/>
          </ac:cxnSpMkLst>
        </pc:cxnChg>
      </pc:sldChg>
      <pc:sldChg chg="add del">
        <pc:chgData name="Stewart, Gavin" userId="0cffdf04-cba2-46b3-b01a-6b6c4b9c13b0" providerId="ADAL" clId="{CBEB6F8F-74EB-4132-8EAC-650D7CEE0930}" dt="2023-09-01T15:50:42.104" v="980" actId="47"/>
        <pc:sldMkLst>
          <pc:docMk/>
          <pc:sldMk cId="256728067" sldId="303"/>
        </pc:sldMkLst>
      </pc:sldChg>
      <pc:sldChg chg="add del">
        <pc:chgData name="Stewart, Gavin" userId="0cffdf04-cba2-46b3-b01a-6b6c4b9c13b0" providerId="ADAL" clId="{CBEB6F8F-74EB-4132-8EAC-650D7CEE0930}" dt="2023-09-01T15:50:43.007" v="981" actId="47"/>
        <pc:sldMkLst>
          <pc:docMk/>
          <pc:sldMk cId="3895231391" sldId="304"/>
        </pc:sldMkLst>
      </pc:sldChg>
      <pc:sldChg chg="add del">
        <pc:chgData name="Stewart, Gavin" userId="0cffdf04-cba2-46b3-b01a-6b6c4b9c13b0" providerId="ADAL" clId="{CBEB6F8F-74EB-4132-8EAC-650D7CEE0930}" dt="2023-09-01T15:50:44.752" v="988" actId="47"/>
        <pc:sldMkLst>
          <pc:docMk/>
          <pc:sldMk cId="2809883489" sldId="306"/>
        </pc:sldMkLst>
      </pc:sldChg>
      <pc:sldChg chg="add del">
        <pc:chgData name="Stewart, Gavin" userId="0cffdf04-cba2-46b3-b01a-6b6c4b9c13b0" providerId="ADAL" clId="{CBEB6F8F-74EB-4132-8EAC-650D7CEE0930}" dt="2023-09-01T15:50:43.846" v="984" actId="47"/>
        <pc:sldMkLst>
          <pc:docMk/>
          <pc:sldMk cId="3581018947" sldId="307"/>
        </pc:sldMkLst>
      </pc:sldChg>
      <pc:sldChg chg="add del">
        <pc:chgData name="Stewart, Gavin" userId="0cffdf04-cba2-46b3-b01a-6b6c4b9c13b0" providerId="ADAL" clId="{CBEB6F8F-74EB-4132-8EAC-650D7CEE0930}" dt="2023-09-01T15:50:43.894" v="985" actId="47"/>
        <pc:sldMkLst>
          <pc:docMk/>
          <pc:sldMk cId="3278131837" sldId="308"/>
        </pc:sldMkLst>
      </pc:sldChg>
      <pc:sldChg chg="add del">
        <pc:chgData name="Stewart, Gavin" userId="0cffdf04-cba2-46b3-b01a-6b6c4b9c13b0" providerId="ADAL" clId="{CBEB6F8F-74EB-4132-8EAC-650D7CEE0930}" dt="2023-09-01T15:50:43.980" v="986" actId="47"/>
        <pc:sldMkLst>
          <pc:docMk/>
          <pc:sldMk cId="1885129120" sldId="309"/>
        </pc:sldMkLst>
      </pc:sldChg>
      <pc:sldChg chg="add del">
        <pc:chgData name="Stewart, Gavin" userId="0cffdf04-cba2-46b3-b01a-6b6c4b9c13b0" providerId="ADAL" clId="{CBEB6F8F-74EB-4132-8EAC-650D7CEE0930}" dt="2023-09-01T15:50:43.199" v="982" actId="47"/>
        <pc:sldMkLst>
          <pc:docMk/>
          <pc:sldMk cId="1765142765" sldId="310"/>
        </pc:sldMkLst>
      </pc:sldChg>
      <pc:sldChg chg="add del">
        <pc:chgData name="Stewart, Gavin" userId="0cffdf04-cba2-46b3-b01a-6b6c4b9c13b0" providerId="ADAL" clId="{CBEB6F8F-74EB-4132-8EAC-650D7CEE0930}" dt="2023-09-01T15:50:43.425" v="983" actId="47"/>
        <pc:sldMkLst>
          <pc:docMk/>
          <pc:sldMk cId="1628430065" sldId="311"/>
        </pc:sldMkLst>
      </pc:sldChg>
      <pc:sldChg chg="add del">
        <pc:chgData name="Stewart, Gavin" userId="0cffdf04-cba2-46b3-b01a-6b6c4b9c13b0" providerId="ADAL" clId="{CBEB6F8F-74EB-4132-8EAC-650D7CEE0930}" dt="2023-09-01T15:50:44.167" v="987" actId="47"/>
        <pc:sldMkLst>
          <pc:docMk/>
          <pc:sldMk cId="1342140039" sldId="312"/>
        </pc:sldMkLst>
      </pc:sldChg>
      <pc:sldChg chg="addSp delSp modSp add del mod">
        <pc:chgData name="Stewart, Gavin" userId="0cffdf04-cba2-46b3-b01a-6b6c4b9c13b0" providerId="ADAL" clId="{CBEB6F8F-74EB-4132-8EAC-650D7CEE0930}" dt="2023-09-01T15:50:44.903" v="989" actId="47"/>
        <pc:sldMkLst>
          <pc:docMk/>
          <pc:sldMk cId="3400190468" sldId="313"/>
        </pc:sldMkLst>
        <pc:spChg chg="del">
          <ac:chgData name="Stewart, Gavin" userId="0cffdf04-cba2-46b3-b01a-6b6c4b9c13b0" providerId="ADAL" clId="{CBEB6F8F-74EB-4132-8EAC-650D7CEE0930}" dt="2023-09-01T15:39:33.088" v="482" actId="478"/>
          <ac:spMkLst>
            <pc:docMk/>
            <pc:sldMk cId="3400190468" sldId="313"/>
            <ac:spMk id="2" creationId="{43D19D2F-950E-D910-260B-637F11231E0C}"/>
          </ac:spMkLst>
        </pc:spChg>
        <pc:spChg chg="add del mod">
          <ac:chgData name="Stewart, Gavin" userId="0cffdf04-cba2-46b3-b01a-6b6c4b9c13b0" providerId="ADAL" clId="{CBEB6F8F-74EB-4132-8EAC-650D7CEE0930}" dt="2023-09-01T15:39:36.592" v="483" actId="478"/>
          <ac:spMkLst>
            <pc:docMk/>
            <pc:sldMk cId="3400190468" sldId="313"/>
            <ac:spMk id="5" creationId="{56713863-255F-930E-ACFC-D00D3F7A9DEE}"/>
          </ac:spMkLst>
        </pc:spChg>
        <pc:graphicFrameChg chg="modGraphic">
          <ac:chgData name="Stewart, Gavin" userId="0cffdf04-cba2-46b3-b01a-6b6c4b9c13b0" providerId="ADAL" clId="{CBEB6F8F-74EB-4132-8EAC-650D7CEE0930}" dt="2023-09-01T15:39:29.023" v="481" actId="2165"/>
          <ac:graphicFrameMkLst>
            <pc:docMk/>
            <pc:sldMk cId="3400190468" sldId="313"/>
            <ac:graphicFrameMk id="3" creationId="{B7325E18-44C1-264C-644F-C0BE6993B24F}"/>
          </ac:graphicFrameMkLst>
        </pc:graphicFrameChg>
      </pc:sldChg>
      <pc:sldChg chg="addSp delSp modSp add mod modNotesTx">
        <pc:chgData name="Stewart, Gavin" userId="0cffdf04-cba2-46b3-b01a-6b6c4b9c13b0" providerId="ADAL" clId="{CBEB6F8F-74EB-4132-8EAC-650D7CEE0930}" dt="2023-09-01T17:49:46.288" v="1672" actId="20577"/>
        <pc:sldMkLst>
          <pc:docMk/>
          <pc:sldMk cId="2159985782" sldId="314"/>
        </pc:sldMkLst>
        <pc:spChg chg="mod">
          <ac:chgData name="Stewart, Gavin" userId="0cffdf04-cba2-46b3-b01a-6b6c4b9c13b0" providerId="ADAL" clId="{CBEB6F8F-74EB-4132-8EAC-650D7CEE0930}" dt="2023-09-01T15:28:45.505" v="308" actId="20577"/>
          <ac:spMkLst>
            <pc:docMk/>
            <pc:sldMk cId="2159985782" sldId="314"/>
            <ac:spMk id="3" creationId="{A91D3D40-4244-84A0-F764-9414E020D6C8}"/>
          </ac:spMkLst>
        </pc:spChg>
        <pc:spChg chg="add mod">
          <ac:chgData name="Stewart, Gavin" userId="0cffdf04-cba2-46b3-b01a-6b6c4b9c13b0" providerId="ADAL" clId="{CBEB6F8F-74EB-4132-8EAC-650D7CEE0930}" dt="2023-09-01T16:05:38.578" v="1192" actId="1076"/>
          <ac:spMkLst>
            <pc:docMk/>
            <pc:sldMk cId="2159985782" sldId="314"/>
            <ac:spMk id="6" creationId="{B81140E8-7DD6-F317-E1B1-89560C9D86EA}"/>
          </ac:spMkLst>
        </pc:spChg>
        <pc:grpChg chg="add mod">
          <ac:chgData name="Stewart, Gavin" userId="0cffdf04-cba2-46b3-b01a-6b6c4b9c13b0" providerId="ADAL" clId="{CBEB6F8F-74EB-4132-8EAC-650D7CEE0930}" dt="2023-09-01T16:05:52.190" v="1194" actId="1076"/>
          <ac:grpSpMkLst>
            <pc:docMk/>
            <pc:sldMk cId="2159985782" sldId="314"/>
            <ac:grpSpMk id="5" creationId="{5D154C21-7E0C-45CF-8EBD-AA04C5EFF4F2}"/>
          </ac:grpSpMkLst>
        </pc:grpChg>
        <pc:grpChg chg="del">
          <ac:chgData name="Stewart, Gavin" userId="0cffdf04-cba2-46b3-b01a-6b6c4b9c13b0" providerId="ADAL" clId="{CBEB6F8F-74EB-4132-8EAC-650D7CEE0930}" dt="2023-09-01T15:28:32.091" v="284" actId="478"/>
          <ac:grpSpMkLst>
            <pc:docMk/>
            <pc:sldMk cId="2159985782" sldId="314"/>
            <ac:grpSpMk id="21" creationId="{F47961B1-2EA4-CABE-AAD5-B2828A0A1CBE}"/>
          </ac:grpSpMkLst>
        </pc:grpChg>
        <pc:picChg chg="add mod">
          <ac:chgData name="Stewart, Gavin" userId="0cffdf04-cba2-46b3-b01a-6b6c4b9c13b0" providerId="ADAL" clId="{CBEB6F8F-74EB-4132-8EAC-650D7CEE0930}" dt="2023-09-01T15:33:40.527" v="393" actId="164"/>
          <ac:picMkLst>
            <pc:docMk/>
            <pc:sldMk cId="2159985782" sldId="314"/>
            <ac:picMk id="2" creationId="{391990BE-0566-F414-264C-72B7CBB0A532}"/>
          </ac:picMkLst>
        </pc:picChg>
        <pc:picChg chg="add mod">
          <ac:chgData name="Stewart, Gavin" userId="0cffdf04-cba2-46b3-b01a-6b6c4b9c13b0" providerId="ADAL" clId="{CBEB6F8F-74EB-4132-8EAC-650D7CEE0930}" dt="2023-09-01T15:33:40.527" v="393" actId="164"/>
          <ac:picMkLst>
            <pc:docMk/>
            <pc:sldMk cId="2159985782" sldId="314"/>
            <ac:picMk id="4" creationId="{63B7AC5D-41E9-1F4E-3537-182EA8AB553F}"/>
          </ac:picMkLst>
        </pc:picChg>
        <pc:picChg chg="mod">
          <ac:chgData name="Stewart, Gavin" userId="0cffdf04-cba2-46b3-b01a-6b6c4b9c13b0" providerId="ADAL" clId="{CBEB6F8F-74EB-4132-8EAC-650D7CEE0930}" dt="2023-09-01T15:28:48.539" v="309" actId="1076"/>
          <ac:picMkLst>
            <pc:docMk/>
            <pc:sldMk cId="2159985782" sldId="314"/>
            <ac:picMk id="13" creationId="{AF221C93-C62F-A01D-8A68-5B40A2681B77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5E3CD-D703-3749-BB13-94B28FA0C9C1}" type="datetimeFigureOut">
              <a:rPr lang="en-US" smtClean="0"/>
              <a:t>9/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DA7843-F257-8741-B515-B973DECCD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917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A7843-F257-8741-B515-B973DECCDF7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209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A7843-F257-8741-B515-B973DECCDF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965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A7843-F257-8741-B515-B973DECCDF7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162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B47E0D-7FD5-4643-D959-6A41A279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208" y="0"/>
            <a:ext cx="265379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317" y="2123226"/>
            <a:ext cx="5952000" cy="1080775"/>
          </a:xfrm>
        </p:spPr>
        <p:txBody>
          <a:bodyPr/>
          <a:lstStyle>
            <a:lvl1pPr algn="l">
              <a:lnSpc>
                <a:spcPts val="38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6317" y="3439800"/>
            <a:ext cx="5952000" cy="822600"/>
          </a:xfrm>
        </p:spPr>
        <p:txBody>
          <a:bodyPr/>
          <a:lstStyle>
            <a:lvl1pPr marL="0" indent="0" algn="l">
              <a:lnSpc>
                <a:spcPts val="19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175" indent="0" algn="l">
              <a:lnSpc>
                <a:spcPts val="19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586317" y="524568"/>
            <a:ext cx="2863519" cy="9233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tx2"/>
                </a:solidFill>
                <a:latin typeface="+mn-lt"/>
              </a:rPr>
              <a:t>Trusted evidence.</a:t>
            </a:r>
          </a:p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tx2"/>
                </a:solidFill>
                <a:latin typeface="+mn-lt"/>
              </a:rPr>
              <a:t>Informed decisions.</a:t>
            </a:r>
          </a:p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bg2"/>
                </a:solidFill>
                <a:latin typeface="+mn-lt"/>
              </a:rPr>
              <a:t>Better health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ACCA2C-DC30-4060-93B5-AB229C2EA1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pic>
        <p:nvPicPr>
          <p:cNvPr id="6" name="Picture 5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635F4621-6013-C099-694A-A55FDE1B3E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267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 lIns="432000" tIns="324000"/>
          <a:lstStyle>
            <a:lvl1pPr marL="0" indent="0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Insert image here</a:t>
            </a:r>
          </a:p>
        </p:txBody>
      </p:sp>
    </p:spTree>
    <p:extLst>
      <p:ext uri="{BB962C8B-B14F-4D97-AF65-F5344CB8AC3E}">
        <p14:creationId xmlns:p14="http://schemas.microsoft.com/office/powerpoint/2010/main" val="164810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317" y="2296026"/>
            <a:ext cx="5952000" cy="562375"/>
          </a:xfrm>
        </p:spPr>
        <p:txBody>
          <a:bodyPr anchor="t" anchorCtr="0"/>
          <a:lstStyle>
            <a:lvl1pPr algn="l">
              <a:lnSpc>
                <a:spcPts val="38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6318" y="2849400"/>
            <a:ext cx="5590116" cy="2197800"/>
          </a:xfrm>
        </p:spPr>
        <p:txBody>
          <a:bodyPr/>
          <a:lstStyle>
            <a:lvl1pPr marL="0" indent="0" algn="l">
              <a:lnSpc>
                <a:spcPts val="1900"/>
              </a:lnSpc>
              <a:spcBef>
                <a:spcPts val="0"/>
              </a:spcBef>
              <a:buNone/>
              <a:defRPr sz="1800" b="0">
                <a:solidFill>
                  <a:schemeClr val="tx2"/>
                </a:solidFill>
                <a:latin typeface="+mn-lt"/>
              </a:defRPr>
            </a:lvl1pPr>
            <a:lvl2pPr marL="3175" indent="0" algn="l">
              <a:lnSpc>
                <a:spcPts val="19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D82743-960A-4EDC-9882-D04DE598CA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pic>
        <p:nvPicPr>
          <p:cNvPr id="4" name="Picture 3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901F3D80-F7C1-5AE4-BE38-9989F0B460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5DA633-894D-6988-6014-8A8A005902E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200" y="-467236"/>
            <a:ext cx="3225292" cy="833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5044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9552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867C474-6AB4-B3BF-E33B-B483428DF3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208" y="0"/>
            <a:ext cx="265379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317" y="2123226"/>
            <a:ext cx="5952000" cy="1080775"/>
          </a:xfrm>
        </p:spPr>
        <p:txBody>
          <a:bodyPr/>
          <a:lstStyle>
            <a:lvl1pPr algn="l">
              <a:lnSpc>
                <a:spcPts val="38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6317" y="3439800"/>
            <a:ext cx="5952000" cy="822600"/>
          </a:xfrm>
        </p:spPr>
        <p:txBody>
          <a:bodyPr/>
          <a:lstStyle>
            <a:lvl1pPr marL="0" indent="0" algn="l">
              <a:lnSpc>
                <a:spcPts val="19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175" indent="0" algn="l">
              <a:lnSpc>
                <a:spcPts val="19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315E9EB-BB00-4C44-9876-A04B457A5E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D5FEBF2-D30F-48FB-9E85-C26E898C4843}"/>
              </a:ext>
            </a:extLst>
          </p:cNvPr>
          <p:cNvSpPr txBox="1"/>
          <p:nvPr/>
        </p:nvSpPr>
        <p:spPr>
          <a:xfrm>
            <a:off x="586317" y="524568"/>
            <a:ext cx="2863519" cy="92333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tx2"/>
                </a:solidFill>
                <a:latin typeface="+mn-lt"/>
              </a:rPr>
              <a:t>Trusted evidence.</a:t>
            </a:r>
          </a:p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tx2"/>
                </a:solidFill>
                <a:latin typeface="+mn-lt"/>
              </a:rPr>
              <a:t>Informed decisions.</a:t>
            </a:r>
          </a:p>
          <a:p>
            <a:pPr>
              <a:lnSpc>
                <a:spcPts val="2000"/>
              </a:lnSpc>
            </a:pPr>
            <a:r>
              <a:rPr lang="en-GB" sz="1800" spc="-30" baseline="0">
                <a:solidFill>
                  <a:schemeClr val="bg2"/>
                </a:solidFill>
                <a:latin typeface="+mn-lt"/>
              </a:rPr>
              <a:t>Better health.</a:t>
            </a:r>
          </a:p>
        </p:txBody>
      </p:sp>
      <p:pic>
        <p:nvPicPr>
          <p:cNvPr id="4" name="Picture 3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45451E39-848B-E6B4-E1B8-EA8C91F9F4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782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502000"/>
            <a:ext cx="12192000" cy="4356000"/>
          </a:xfrm>
          <a:solidFill>
            <a:schemeClr val="accent5"/>
          </a:solidFill>
        </p:spPr>
        <p:txBody>
          <a:bodyPr lIns="432000" tIns="108000"/>
          <a:lstStyle>
            <a:lvl1pPr marL="0" indent="0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Insert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317" y="1295226"/>
            <a:ext cx="5952000" cy="1080775"/>
          </a:xfrm>
        </p:spPr>
        <p:txBody>
          <a:bodyPr/>
          <a:lstStyle>
            <a:lvl1pPr algn="l">
              <a:lnSpc>
                <a:spcPts val="38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38400" y="1409400"/>
            <a:ext cx="4435200" cy="822600"/>
          </a:xfrm>
        </p:spPr>
        <p:txBody>
          <a:bodyPr/>
          <a:lstStyle>
            <a:lvl1pPr marL="0" indent="0" algn="l">
              <a:lnSpc>
                <a:spcPts val="19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175" indent="0" algn="l">
              <a:lnSpc>
                <a:spcPts val="19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6012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Large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502000"/>
            <a:ext cx="12192000" cy="4356000"/>
          </a:xfrm>
          <a:solidFill>
            <a:schemeClr val="accent5"/>
          </a:solidFill>
        </p:spPr>
        <p:txBody>
          <a:bodyPr lIns="432000" tIns="108000"/>
          <a:lstStyle>
            <a:lvl1pPr marL="0" indent="0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Insert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317" y="3419226"/>
            <a:ext cx="5952000" cy="1080775"/>
          </a:xfrm>
        </p:spPr>
        <p:txBody>
          <a:bodyPr/>
          <a:lstStyle>
            <a:lvl1pPr algn="l">
              <a:lnSpc>
                <a:spcPts val="38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6317" y="4627800"/>
            <a:ext cx="4435200" cy="822600"/>
          </a:xfrm>
        </p:spPr>
        <p:txBody>
          <a:bodyPr/>
          <a:lstStyle>
            <a:lvl1pPr marL="0" indent="0" algn="l">
              <a:lnSpc>
                <a:spcPts val="19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  <a:latin typeface="+mj-lt"/>
              </a:defRPr>
            </a:lvl1pPr>
            <a:lvl2pPr marL="3175" indent="0" algn="l">
              <a:lnSpc>
                <a:spcPts val="19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+mj-lt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C041FA-314C-4D51-91E8-1F40D9CCF6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pic>
        <p:nvPicPr>
          <p:cNvPr id="5" name="Picture 4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6AF8E38A-AF33-DD2D-2B6D-40862A53F8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471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674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3664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317" y="973354"/>
            <a:ext cx="8160000" cy="6328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586317" y="1887754"/>
            <a:ext cx="8208000" cy="3816000"/>
          </a:xfrm>
          <a:solidFill>
            <a:schemeClr val="accent5"/>
          </a:solidFill>
        </p:spPr>
        <p:txBody>
          <a:bodyPr lIns="216000" tIns="108000"/>
          <a:lstStyle>
            <a:lvl1pPr marL="0" indent="0"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Insert image her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6318" y="5818429"/>
            <a:ext cx="8235949" cy="37465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0096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317" y="1202400"/>
            <a:ext cx="8160000" cy="460800"/>
          </a:xfrm>
        </p:spPr>
        <p:txBody>
          <a:bodyPr anchor="t" anchorCtr="0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86318" y="5807670"/>
            <a:ext cx="8235949" cy="37465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3CF6DD-6EA5-4CC4-A300-E85FFD1C56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pic>
        <p:nvPicPr>
          <p:cNvPr id="3" name="Picture 2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D80CD898-6202-5F1A-FDEF-1E6386D1D1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46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4073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6317" y="1317600"/>
            <a:ext cx="8160000" cy="6328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6317" y="2112819"/>
            <a:ext cx="8160000" cy="39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208" y="0"/>
            <a:ext cx="2653792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A542EF-54BB-4003-B025-CDB0056A70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4704" y="6373368"/>
            <a:ext cx="1095238" cy="228571"/>
          </a:xfrm>
          <a:prstGeom prst="rect">
            <a:avLst/>
          </a:prstGeom>
        </p:spPr>
      </p:pic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E1B03679-6133-4899-BB89-3DC8E4F3C28E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49ED462-040B-B3E0-F7AD-BD3F48DC89F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628" y="6184801"/>
            <a:ext cx="1754895" cy="57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14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3600" b="1" kern="1200" spc="-40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134"/>
        </a:spcBef>
        <a:spcAft>
          <a:spcPts val="0"/>
        </a:spcAft>
        <a:buClr>
          <a:schemeClr val="bg2"/>
        </a:buClr>
        <a:buFont typeface="Arial" pitchFamily="34" charset="0"/>
        <a:buNone/>
        <a:defRPr sz="2000" kern="1200" spc="-20" baseline="0">
          <a:solidFill>
            <a:schemeClr val="tx2"/>
          </a:solidFill>
          <a:latin typeface="+mj-lt"/>
          <a:ea typeface="+mn-ea"/>
          <a:cs typeface="+mn-cs"/>
        </a:defRPr>
      </a:lvl1pPr>
      <a:lvl2pPr marL="179388" indent="-179388" algn="l" defTabSz="914400" rtl="0" eaLnBrk="1" latinLnBrk="0" hangingPunct="1">
        <a:spcBef>
          <a:spcPts val="1134"/>
        </a:spcBef>
        <a:spcAft>
          <a:spcPts val="0"/>
        </a:spcAft>
        <a:buClr>
          <a:schemeClr val="bg2"/>
        </a:buClr>
        <a:buFont typeface="Arial" pitchFamily="34" charset="0"/>
        <a:buChar char="•"/>
        <a:defRPr sz="2000" kern="1200" spc="-20" baseline="0">
          <a:solidFill>
            <a:schemeClr val="tx2"/>
          </a:solidFill>
          <a:latin typeface="+mj-lt"/>
          <a:ea typeface="+mn-ea"/>
          <a:cs typeface="+mn-cs"/>
        </a:defRPr>
      </a:lvl2pPr>
      <a:lvl3pPr marL="388938" indent="-158750" algn="l" defTabSz="914400" rtl="0" eaLnBrk="1" latinLnBrk="0" hangingPunct="1">
        <a:spcBef>
          <a:spcPts val="567"/>
        </a:spcBef>
        <a:buClr>
          <a:schemeClr val="bg2"/>
        </a:buClr>
        <a:buFont typeface="Source Sans Pro" pitchFamily="34" charset="0"/>
        <a:buChar char="–"/>
        <a:defRPr sz="1800" kern="1200" spc="-20" baseline="0">
          <a:solidFill>
            <a:schemeClr val="tx2"/>
          </a:solidFill>
          <a:latin typeface="+mj-lt"/>
          <a:ea typeface="+mn-ea"/>
          <a:cs typeface="+mn-cs"/>
        </a:defRPr>
      </a:lvl3pPr>
      <a:lvl4pPr marL="612775" indent="-195263" algn="l" defTabSz="914400" rtl="0" eaLnBrk="1" latinLnBrk="0" hangingPunct="1">
        <a:spcBef>
          <a:spcPts val="567"/>
        </a:spcBef>
        <a:buClr>
          <a:schemeClr val="bg2"/>
        </a:buClr>
        <a:buFont typeface="Arial" pitchFamily="34" charset="0"/>
        <a:buChar char="•"/>
        <a:defRPr sz="1800" kern="1200" spc="-20" baseline="0">
          <a:solidFill>
            <a:schemeClr val="tx2"/>
          </a:solidFill>
          <a:latin typeface="+mj-lt"/>
          <a:ea typeface="+mn-ea"/>
          <a:cs typeface="+mn-cs"/>
        </a:defRPr>
      </a:lvl4pPr>
      <a:lvl5pPr marL="849313" indent="-187325" algn="l" defTabSz="914400" rtl="0" eaLnBrk="1" latinLnBrk="0" hangingPunct="1">
        <a:spcBef>
          <a:spcPts val="567"/>
        </a:spcBef>
        <a:buClr>
          <a:schemeClr val="bg2"/>
        </a:buClr>
        <a:buFont typeface="Source Sans Pro" pitchFamily="34" charset="0"/>
        <a:buChar char="–"/>
        <a:defRPr sz="1800" kern="1200" spc="-20" baseline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C5A60D2-7B11-F882-464E-7D8E98C483A0}"/>
              </a:ext>
            </a:extLst>
          </p:cNvPr>
          <p:cNvSpPr txBox="1">
            <a:spLocks/>
          </p:cNvSpPr>
          <p:nvPr/>
        </p:nvSpPr>
        <p:spPr>
          <a:xfrm>
            <a:off x="478740" y="335210"/>
            <a:ext cx="9956177" cy="53284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 spc="-40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rgbClr val="023872"/>
                </a:solidFill>
              </a:rPr>
              <a:t>Coc</a:t>
            </a:r>
            <a:r>
              <a:rPr lang="en-US" sz="4000" dirty="0">
                <a:solidFill>
                  <a:srgbClr val="3B5673"/>
                </a:solidFill>
              </a:rPr>
              <a:t>h</a:t>
            </a:r>
            <a:r>
              <a:rPr lang="en-US" sz="4000" dirty="0">
                <a:solidFill>
                  <a:srgbClr val="023872"/>
                </a:solidFill>
              </a:rPr>
              <a:t>rane</a:t>
            </a:r>
            <a:r>
              <a:rPr lang="en-US" sz="4000" dirty="0"/>
              <a:t> </a:t>
            </a:r>
            <a:r>
              <a:rPr lang="en-US" sz="4000" dirty="0">
                <a:solidFill>
                  <a:srgbClr val="12A4DE"/>
                </a:solidFill>
              </a:rPr>
              <a:t>Evidence Synthesis and Methods</a:t>
            </a:r>
            <a:r>
              <a:rPr lang="en-US" sz="4000" dirty="0"/>
              <a:t> </a:t>
            </a:r>
            <a:endParaRPr lang="en-GB" sz="400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874C5F1-89FD-14F1-7F6B-8503A8EF88D3}"/>
              </a:ext>
            </a:extLst>
          </p:cNvPr>
          <p:cNvSpPr txBox="1">
            <a:spLocks/>
          </p:cNvSpPr>
          <p:nvPr/>
        </p:nvSpPr>
        <p:spPr>
          <a:xfrm>
            <a:off x="478740" y="978244"/>
            <a:ext cx="8573051" cy="532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134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None/>
              <a:defRPr sz="2000" kern="1200" spc="-2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1134"/>
              </a:spcBef>
              <a:spcAft>
                <a:spcPts val="0"/>
              </a:spcAft>
              <a:buClr>
                <a:schemeClr val="bg2"/>
              </a:buClr>
              <a:buFont typeface="Arial" pitchFamily="34" charset="0"/>
              <a:buChar char="•"/>
              <a:defRPr sz="2000" kern="1200" spc="-2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388938" indent="-158750" algn="l" defTabSz="914400" rtl="0" eaLnBrk="1" latinLnBrk="0" hangingPunct="1">
              <a:spcBef>
                <a:spcPts val="567"/>
              </a:spcBef>
              <a:buClr>
                <a:schemeClr val="bg2"/>
              </a:buClr>
              <a:buFont typeface="Source Sans Pro" pitchFamily="34" charset="0"/>
              <a:buChar char="–"/>
              <a:defRPr sz="1800" kern="1200" spc="-2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612775" indent="-195263" algn="l" defTabSz="914400" rtl="0" eaLnBrk="1" latinLnBrk="0" hangingPunct="1">
              <a:spcBef>
                <a:spcPts val="567"/>
              </a:spcBef>
              <a:buClr>
                <a:schemeClr val="bg2"/>
              </a:buClr>
              <a:buFont typeface="Arial" pitchFamily="34" charset="0"/>
              <a:buChar char="•"/>
              <a:defRPr sz="1800" kern="1200" spc="-2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849313" indent="-187325" algn="l" defTabSz="914400" rtl="0" eaLnBrk="1" latinLnBrk="0" hangingPunct="1">
              <a:spcBef>
                <a:spcPts val="567"/>
              </a:spcBef>
              <a:buClr>
                <a:schemeClr val="bg2"/>
              </a:buClr>
              <a:buFont typeface="Source Sans Pro" pitchFamily="34" charset="0"/>
              <a:buChar char="–"/>
              <a:defRPr sz="1800" kern="1200" spc="-2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GB" sz="2400" spc="-40" dirty="0">
                <a:solidFill>
                  <a:schemeClr val="tx1"/>
                </a:solidFill>
                <a:ea typeface="+mj-ea"/>
                <a:cs typeface="+mj-cs"/>
              </a:rPr>
              <a:t>Cochrane’s first fully Open Access journal!</a:t>
            </a:r>
          </a:p>
        </p:txBody>
      </p:sp>
      <p:pic>
        <p:nvPicPr>
          <p:cNvPr id="16" name="Picture 15" descr="A blue and white cover&#10;&#10;Description automatically generated">
            <a:extLst>
              <a:ext uri="{FF2B5EF4-FFF2-40B4-BE49-F238E27FC236}">
                <a16:creationId xmlns:a16="http://schemas.microsoft.com/office/drawing/2014/main" id="{86BF9834-38CE-CF95-B939-8C950A6A1E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9531" y="1856974"/>
            <a:ext cx="3118507" cy="4119464"/>
          </a:xfrm>
          <a:prstGeom prst="rect">
            <a:avLst/>
          </a:prstGeom>
          <a:effectLst>
            <a:outerShdw blurRad="50800" dist="38100" dir="18900000" sx="102000" sy="102000" algn="bl" rotWithShape="0">
              <a:prstClr val="black">
                <a:alpha val="40000"/>
              </a:prstClr>
            </a:outerShdw>
          </a:effectLst>
        </p:spPr>
      </p:pic>
      <p:sp>
        <p:nvSpPr>
          <p:cNvPr id="19" name="Diamond 18">
            <a:extLst>
              <a:ext uri="{FF2B5EF4-FFF2-40B4-BE49-F238E27FC236}">
                <a16:creationId xmlns:a16="http://schemas.microsoft.com/office/drawing/2014/main" id="{495AED3C-16DA-9BF3-D4BA-A3C6E7FD061A}"/>
              </a:ext>
            </a:extLst>
          </p:cNvPr>
          <p:cNvSpPr/>
          <p:nvPr/>
        </p:nvSpPr>
        <p:spPr>
          <a:xfrm>
            <a:off x="476588" y="2043131"/>
            <a:ext cx="278621" cy="249381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4042C1-03F7-E4DE-6BD6-8511E2A2A5EA}"/>
              </a:ext>
            </a:extLst>
          </p:cNvPr>
          <p:cNvSpPr txBox="1"/>
          <p:nvPr/>
        </p:nvSpPr>
        <p:spPr>
          <a:xfrm>
            <a:off x="922020" y="2006159"/>
            <a:ext cx="3489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Launched November 2022</a:t>
            </a:r>
            <a:endParaRPr lang="en-DE" dirty="0"/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id="{95CABF1C-7C93-ADA5-362D-82EE48B109C1}"/>
              </a:ext>
            </a:extLst>
          </p:cNvPr>
          <p:cNvSpPr/>
          <p:nvPr/>
        </p:nvSpPr>
        <p:spPr>
          <a:xfrm>
            <a:off x="476588" y="2711310"/>
            <a:ext cx="278621" cy="249381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6C8512-355D-D1DF-0A11-02093C67AF89}"/>
              </a:ext>
            </a:extLst>
          </p:cNvPr>
          <p:cNvSpPr txBox="1"/>
          <p:nvPr/>
        </p:nvSpPr>
        <p:spPr>
          <a:xfrm>
            <a:off x="922020" y="2639235"/>
            <a:ext cx="5600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ditor – Mike Brown</a:t>
            </a:r>
            <a:endParaRPr lang="en-DE" dirty="0"/>
          </a:p>
        </p:txBody>
      </p:sp>
      <p:sp>
        <p:nvSpPr>
          <p:cNvPr id="23" name="Diamond 22">
            <a:extLst>
              <a:ext uri="{FF2B5EF4-FFF2-40B4-BE49-F238E27FC236}">
                <a16:creationId xmlns:a16="http://schemas.microsoft.com/office/drawing/2014/main" id="{1C4EC5B6-02A3-A9BD-49D6-78E847BF3C99}"/>
              </a:ext>
            </a:extLst>
          </p:cNvPr>
          <p:cNvSpPr/>
          <p:nvPr/>
        </p:nvSpPr>
        <p:spPr>
          <a:xfrm>
            <a:off x="476588" y="3416774"/>
            <a:ext cx="278621" cy="249381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6EF504-9DAA-E19D-3176-18588BC6B07C}"/>
              </a:ext>
            </a:extLst>
          </p:cNvPr>
          <p:cNvSpPr txBox="1"/>
          <p:nvPr/>
        </p:nvSpPr>
        <p:spPr>
          <a:xfrm>
            <a:off x="922020" y="3318971"/>
            <a:ext cx="5600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Expert Editorial Board</a:t>
            </a:r>
            <a:endParaRPr lang="en-DE" dirty="0"/>
          </a:p>
        </p:txBody>
      </p:sp>
      <p:sp>
        <p:nvSpPr>
          <p:cNvPr id="27" name="Diamond 26">
            <a:extLst>
              <a:ext uri="{FF2B5EF4-FFF2-40B4-BE49-F238E27FC236}">
                <a16:creationId xmlns:a16="http://schemas.microsoft.com/office/drawing/2014/main" id="{FF9BC7B3-9ED7-06AB-7A7E-AED096AD167E}"/>
              </a:ext>
            </a:extLst>
          </p:cNvPr>
          <p:cNvSpPr/>
          <p:nvPr/>
        </p:nvSpPr>
        <p:spPr>
          <a:xfrm>
            <a:off x="468584" y="4112152"/>
            <a:ext cx="278621" cy="249381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3E69D4C-29B5-6D36-E841-FCC6CB48FFFB}"/>
              </a:ext>
            </a:extLst>
          </p:cNvPr>
          <p:cNvSpPr txBox="1"/>
          <p:nvPr/>
        </p:nvSpPr>
        <p:spPr>
          <a:xfrm>
            <a:off x="922020" y="4038367"/>
            <a:ext cx="5600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Research Articles, Methods Articles, Scoping Reviews, Rapid Reviews, Evidence Gap Maps, Brief Reports</a:t>
            </a:r>
            <a:endParaRPr lang="en-DE" dirty="0"/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7F123C1E-077A-84A2-F9C2-A5C68FE520D4}"/>
              </a:ext>
            </a:extLst>
          </p:cNvPr>
          <p:cNvSpPr/>
          <p:nvPr/>
        </p:nvSpPr>
        <p:spPr>
          <a:xfrm>
            <a:off x="476588" y="4992195"/>
            <a:ext cx="278621" cy="249381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26CB19-7BCE-2516-FA07-71401D89A703}"/>
              </a:ext>
            </a:extLst>
          </p:cNvPr>
          <p:cNvSpPr txBox="1"/>
          <p:nvPr/>
        </p:nvSpPr>
        <p:spPr>
          <a:xfrm>
            <a:off x="922020" y="4932219"/>
            <a:ext cx="5600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ochrane’s high standards of integrity and ethics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92766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/>
      <p:bldP spid="21" grpId="0" animBg="1"/>
      <p:bldP spid="22" grpId="0"/>
      <p:bldP spid="23" grpId="0" animBg="1"/>
      <p:bldP spid="24" grpId="0"/>
      <p:bldP spid="27" grpId="0" animBg="1"/>
      <p:bldP spid="28" grpId="0"/>
      <p:bldP spid="29" grpId="0" animBg="1"/>
      <p:bldP spid="3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1D3D40-4244-84A0-F764-9414E020D6C8}"/>
              </a:ext>
            </a:extLst>
          </p:cNvPr>
          <p:cNvSpPr txBox="1"/>
          <p:nvPr/>
        </p:nvSpPr>
        <p:spPr>
          <a:xfrm>
            <a:off x="465570" y="517043"/>
            <a:ext cx="98983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GB" sz="2800" spc="-40" dirty="0">
                <a:solidFill>
                  <a:srgbClr val="023872"/>
                </a:solidFill>
                <a:ea typeface="+mj-ea"/>
                <a:cs typeface="+mj-cs"/>
              </a:rPr>
              <a:t>Submit your work to Cochrane </a:t>
            </a:r>
            <a:r>
              <a:rPr lang="en-GB" sz="2800" spc="-40" dirty="0">
                <a:solidFill>
                  <a:srgbClr val="00B0F0"/>
                </a:solidFill>
                <a:ea typeface="+mj-ea"/>
                <a:cs typeface="+mj-cs"/>
              </a:rPr>
              <a:t>Evidence Synthesis and Method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C921A5-6049-9E72-8EDA-5DA987D626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6768072"/>
              </p:ext>
            </p:extLst>
          </p:nvPr>
        </p:nvGraphicFramePr>
        <p:xfrm>
          <a:off x="870003" y="1478795"/>
          <a:ext cx="731286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5420">
                  <a:extLst>
                    <a:ext uri="{9D8B030D-6E8A-4147-A177-3AD203B41FA5}">
                      <a16:colId xmlns:a16="http://schemas.microsoft.com/office/drawing/2014/main" val="2561472543"/>
                    </a:ext>
                  </a:extLst>
                </a:gridCol>
                <a:gridCol w="1662483">
                  <a:extLst>
                    <a:ext uri="{9D8B030D-6E8A-4147-A177-3AD203B41FA5}">
                      <a16:colId xmlns:a16="http://schemas.microsoft.com/office/drawing/2014/main" val="664792724"/>
                    </a:ext>
                  </a:extLst>
                </a:gridCol>
                <a:gridCol w="1662483">
                  <a:extLst>
                    <a:ext uri="{9D8B030D-6E8A-4147-A177-3AD203B41FA5}">
                      <a16:colId xmlns:a16="http://schemas.microsoft.com/office/drawing/2014/main" val="92875838"/>
                    </a:ext>
                  </a:extLst>
                </a:gridCol>
                <a:gridCol w="1662483">
                  <a:extLst>
                    <a:ext uri="{9D8B030D-6E8A-4147-A177-3AD203B41FA5}">
                      <a16:colId xmlns:a16="http://schemas.microsoft.com/office/drawing/2014/main" val="28379652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endParaRPr lang="en-DE" sz="1600" dirty="0"/>
                    </a:p>
                  </a:txBody>
                  <a:tcPr anchor="ctr">
                    <a:lnR w="12700" cmpd="sng">
                      <a:noFill/>
                    </a:ln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Article Processing Charge</a:t>
                      </a:r>
                      <a:endParaRPr lang="en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969859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Article Type</a:t>
                      </a:r>
                      <a:endParaRPr lang="en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12A4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USD</a:t>
                      </a:r>
                      <a:endParaRPr lang="en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12A4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GBP</a:t>
                      </a:r>
                      <a:endParaRPr lang="en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12A4D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bg1"/>
                          </a:solidFill>
                        </a:rPr>
                        <a:t>EUR</a:t>
                      </a:r>
                      <a:endParaRPr lang="en-DE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T w="38100" cmpd="sng">
                      <a:noFill/>
                    </a:lnT>
                    <a:solidFill>
                      <a:srgbClr val="12A4D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6392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Research Article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50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85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150</a:t>
                      </a:r>
                      <a:endParaRPr lang="en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245757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Review Article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,00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20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600</a:t>
                      </a:r>
                      <a:endParaRPr lang="en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29071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Methods Article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50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,850</a:t>
                      </a:r>
                      <a:endParaRPr lang="en-DE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2,150</a:t>
                      </a:r>
                      <a:endParaRPr lang="en-DE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806691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Brief Report</a:t>
                      </a:r>
                      <a:endParaRPr lang="en-DE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,500</a:t>
                      </a:r>
                      <a:endParaRPr lang="en-DE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,100</a:t>
                      </a:r>
                      <a:endParaRPr lang="en-DE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,300</a:t>
                      </a:r>
                      <a:endParaRPr lang="en-DE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2742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7514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D61875CD-0856-B878-D687-9ECCDBFC0728}"/>
              </a:ext>
            </a:extLst>
          </p:cNvPr>
          <p:cNvSpPr txBox="1"/>
          <p:nvPr/>
        </p:nvSpPr>
        <p:spPr>
          <a:xfrm>
            <a:off x="465570" y="517043"/>
            <a:ext cx="98983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GB" sz="2800" spc="-40" dirty="0">
                <a:solidFill>
                  <a:srgbClr val="023872"/>
                </a:solidFill>
                <a:ea typeface="+mj-ea"/>
                <a:cs typeface="+mj-cs"/>
              </a:rPr>
              <a:t>Submit your work to Cochrane </a:t>
            </a:r>
            <a:r>
              <a:rPr lang="en-GB" sz="2800" spc="-40" dirty="0">
                <a:solidFill>
                  <a:srgbClr val="00B0F0"/>
                </a:solidFill>
                <a:ea typeface="+mj-ea"/>
                <a:cs typeface="+mj-cs"/>
              </a:rPr>
              <a:t>Evidence Synthesis and Methods</a:t>
            </a:r>
          </a:p>
        </p:txBody>
      </p:sp>
      <p:sp>
        <p:nvSpPr>
          <p:cNvPr id="21" name="Diamond 20">
            <a:extLst>
              <a:ext uri="{FF2B5EF4-FFF2-40B4-BE49-F238E27FC236}">
                <a16:creationId xmlns:a16="http://schemas.microsoft.com/office/drawing/2014/main" id="{8B9EDDE3-BB2D-05B9-72AE-773501792767}"/>
              </a:ext>
            </a:extLst>
          </p:cNvPr>
          <p:cNvSpPr/>
          <p:nvPr/>
        </p:nvSpPr>
        <p:spPr>
          <a:xfrm>
            <a:off x="898217" y="1797449"/>
            <a:ext cx="785686" cy="656257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DE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4FD48A3-33E1-FCBA-2B59-94B8DF07E2DA}"/>
              </a:ext>
            </a:extLst>
          </p:cNvPr>
          <p:cNvSpPr txBox="1"/>
          <p:nvPr/>
        </p:nvSpPr>
        <p:spPr>
          <a:xfrm>
            <a:off x="1872254" y="1894744"/>
            <a:ext cx="6614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dirty="0"/>
              <a:t>Institution and Funder open access accounts</a:t>
            </a:r>
            <a:endParaRPr lang="en-DE" sz="2400" dirty="0"/>
          </a:p>
        </p:txBody>
      </p:sp>
      <p:sp>
        <p:nvSpPr>
          <p:cNvPr id="25" name="Diamond 24">
            <a:extLst>
              <a:ext uri="{FF2B5EF4-FFF2-40B4-BE49-F238E27FC236}">
                <a16:creationId xmlns:a16="http://schemas.microsoft.com/office/drawing/2014/main" id="{B56E60EE-D731-5A64-DBE1-381263883B27}"/>
              </a:ext>
            </a:extLst>
          </p:cNvPr>
          <p:cNvSpPr/>
          <p:nvPr/>
        </p:nvSpPr>
        <p:spPr>
          <a:xfrm>
            <a:off x="898217" y="2907227"/>
            <a:ext cx="785686" cy="656257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E0C129B-9167-B129-545A-52F6B942703A}"/>
              </a:ext>
            </a:extLst>
          </p:cNvPr>
          <p:cNvSpPr txBox="1"/>
          <p:nvPr/>
        </p:nvSpPr>
        <p:spPr>
          <a:xfrm>
            <a:off x="1872254" y="3004524"/>
            <a:ext cx="6614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LIMC automatic waivers and discounts</a:t>
            </a:r>
            <a:endParaRPr lang="en-DE" sz="2400" dirty="0"/>
          </a:p>
        </p:txBody>
      </p:sp>
      <p:sp>
        <p:nvSpPr>
          <p:cNvPr id="29" name="Diamond 28">
            <a:extLst>
              <a:ext uri="{FF2B5EF4-FFF2-40B4-BE49-F238E27FC236}">
                <a16:creationId xmlns:a16="http://schemas.microsoft.com/office/drawing/2014/main" id="{F7613BC2-B703-3A1E-A476-3521E6A04051}"/>
              </a:ext>
            </a:extLst>
          </p:cNvPr>
          <p:cNvSpPr/>
          <p:nvPr/>
        </p:nvSpPr>
        <p:spPr>
          <a:xfrm>
            <a:off x="1021211" y="4106444"/>
            <a:ext cx="539697" cy="461665"/>
          </a:xfrm>
          <a:prstGeom prst="diamond">
            <a:avLst/>
          </a:prstGeom>
          <a:solidFill>
            <a:srgbClr val="12A4DE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EA043A-F977-2780-930A-C8C91447953E}"/>
              </a:ext>
            </a:extLst>
          </p:cNvPr>
          <p:cNvSpPr txBox="1"/>
          <p:nvPr/>
        </p:nvSpPr>
        <p:spPr>
          <a:xfrm>
            <a:off x="1872254" y="4137221"/>
            <a:ext cx="6614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Editor waivers</a:t>
            </a:r>
            <a:endParaRPr lang="en-DE" sz="2000" dirty="0"/>
          </a:p>
        </p:txBody>
      </p:sp>
    </p:spTree>
    <p:extLst>
      <p:ext uri="{BB962C8B-B14F-4D97-AF65-F5344CB8AC3E}">
        <p14:creationId xmlns:p14="http://schemas.microsoft.com/office/powerpoint/2010/main" val="3370211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7" grpId="0"/>
      <p:bldP spid="29" grpId="0" animBg="1"/>
      <p:bldP spid="3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91D3D40-4244-84A0-F764-9414E020D6C8}"/>
              </a:ext>
            </a:extLst>
          </p:cNvPr>
          <p:cNvSpPr txBox="1"/>
          <p:nvPr/>
        </p:nvSpPr>
        <p:spPr>
          <a:xfrm>
            <a:off x="465570" y="517043"/>
            <a:ext cx="989838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GB" sz="2800" spc="-40" dirty="0">
                <a:solidFill>
                  <a:srgbClr val="023872"/>
                </a:solidFill>
                <a:ea typeface="+mj-ea"/>
                <a:cs typeface="+mj-cs"/>
              </a:rPr>
              <a:t>Come and talk to us!</a:t>
            </a:r>
            <a:endParaRPr lang="en-GB" sz="2800" spc="-40" dirty="0">
              <a:solidFill>
                <a:srgbClr val="00B0F0"/>
              </a:solidFill>
              <a:ea typeface="+mj-ea"/>
              <a:cs typeface="+mj-cs"/>
            </a:endParaRPr>
          </a:p>
        </p:txBody>
      </p:sp>
      <p:pic>
        <p:nvPicPr>
          <p:cNvPr id="13" name="Picture 12" descr="A person in a blue shirt&#10;&#10;Description automatically generated with medium confidence">
            <a:extLst>
              <a:ext uri="{FF2B5EF4-FFF2-40B4-BE49-F238E27FC236}">
                <a16:creationId xmlns:a16="http://schemas.microsoft.com/office/drawing/2014/main" id="{AF221C93-C62F-A01D-8A68-5B40A2681B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9" y="1559869"/>
            <a:ext cx="3788295" cy="3156911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D154C21-7E0C-45CF-8EBD-AA04C5EFF4F2}"/>
              </a:ext>
            </a:extLst>
          </p:cNvPr>
          <p:cNvGrpSpPr/>
          <p:nvPr/>
        </p:nvGrpSpPr>
        <p:grpSpPr>
          <a:xfrm>
            <a:off x="5216576" y="1292932"/>
            <a:ext cx="3877209" cy="4002707"/>
            <a:chOff x="5429936" y="1295424"/>
            <a:chExt cx="3877209" cy="4002707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91990BE-0566-F414-264C-72B7CBB0A5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9936" y="4873857"/>
              <a:ext cx="3877209" cy="424274"/>
            </a:xfrm>
            <a:prstGeom prst="rect">
              <a:avLst/>
            </a:prstGeom>
          </p:spPr>
        </p:pic>
        <p:pic>
          <p:nvPicPr>
            <p:cNvPr id="4" name="Picture 3" descr="Qr code&#10;&#10;Description automatically generated">
              <a:extLst>
                <a:ext uri="{FF2B5EF4-FFF2-40B4-BE49-F238E27FC236}">
                  <a16:creationId xmlns:a16="http://schemas.microsoft.com/office/drawing/2014/main" id="{63B7AC5D-41E9-1F4E-3537-182EA8AB55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3152" y="1295424"/>
              <a:ext cx="2850776" cy="28507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9985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UPDATE" val="True"/>
  <p:tag name="MIO_FALLBACK_LAYOUT" val="1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6"/>
  <p:tag name="MIO_EKGUID" val="47f39225-6909-4b6b-ad71-5c574143b4b4"/>
  <p:tag name="MIO_VERSION" val="29.10.2020 20:40:01"/>
  <p:tag name="MIO_DBID" val="0F45B44C-9BC7-4D85-81C4-7155EE70A7B9"/>
  <p:tag name="MIO_OBJECTNAME" val="Cochrane Library Master"/>
  <p:tag name="MIO_SKIPVERSION" val="01.01.0001 00:00:00"/>
  <p:tag name="MIO_LASTDOWNLOADED" val="03.01.2023 10:58:36"/>
  <p:tag name="MIO_CDID" val="94750cb9-bca5-470c-a9ea-d3b32b454df8"/>
</p:tagLst>
</file>

<file path=ppt/theme/theme1.xml><?xml version="1.0" encoding="utf-8"?>
<a:theme xmlns:a="http://schemas.openxmlformats.org/drawingml/2006/main" name="2_Cochrane Library &amp; Wiley PowerPoint template">
  <a:themeElements>
    <a:clrScheme name="CESM">
      <a:dk1>
        <a:srgbClr val="000000"/>
      </a:dk1>
      <a:lt1>
        <a:srgbClr val="FFFFFF"/>
      </a:lt1>
      <a:dk2>
        <a:srgbClr val="002D64"/>
      </a:dk2>
      <a:lt2>
        <a:srgbClr val="0057B7"/>
      </a:lt2>
      <a:accent1>
        <a:srgbClr val="002D64"/>
      </a:accent1>
      <a:accent2>
        <a:srgbClr val="0057B7"/>
      </a:accent2>
      <a:accent3>
        <a:srgbClr val="696969"/>
      </a:accent3>
      <a:accent4>
        <a:srgbClr val="999999"/>
      </a:accent4>
      <a:accent5>
        <a:srgbClr val="CCCCCC"/>
      </a:accent5>
      <a:accent6>
        <a:srgbClr val="E6E6E6"/>
      </a:accent6>
      <a:hlink>
        <a:srgbClr val="002D64"/>
      </a:hlink>
      <a:folHlink>
        <a:srgbClr val="002D64"/>
      </a:folHlink>
    </a:clrScheme>
    <a:fontScheme name="Cochrane">
      <a:majorFont>
        <a:latin typeface="Source Sans Pro"/>
        <a:ea typeface=""/>
        <a:cs typeface=""/>
      </a:majorFont>
      <a:minorFont>
        <a:latin typeface="Source Sans Pro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6</Words>
  <Application>Microsoft Office PowerPoint</Application>
  <PresentationFormat>Widescreen</PresentationFormat>
  <Paragraphs>36</Paragraphs>
  <Slides>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2_Cochrane Library &amp; Wiley PowerPoint templat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of Cochrane Evidence Synthesis and Methods</dc:title>
  <dc:creator>Kinsman, Vicky</dc:creator>
  <cp:lastModifiedBy>Stewart, Gavin</cp:lastModifiedBy>
  <cp:revision>12</cp:revision>
  <dcterms:created xsi:type="dcterms:W3CDTF">2023-01-18T16:50:53Z</dcterms:created>
  <dcterms:modified xsi:type="dcterms:W3CDTF">2023-09-04T13:32:39Z</dcterms:modified>
</cp:coreProperties>
</file>